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4" r:id="rId1"/>
    <p:sldMasterId id="2147483792" r:id="rId2"/>
    <p:sldMasterId id="2147483804" r:id="rId3"/>
    <p:sldMasterId id="2147483816" r:id="rId4"/>
  </p:sldMasterIdLst>
  <p:notesMasterIdLst>
    <p:notesMasterId r:id="rId77"/>
  </p:notesMasterIdLst>
  <p:sldIdLst>
    <p:sldId id="2134808265" r:id="rId5"/>
    <p:sldId id="2134808281" r:id="rId6"/>
    <p:sldId id="2134808266" r:id="rId7"/>
    <p:sldId id="2134808267" r:id="rId8"/>
    <p:sldId id="2134808443" r:id="rId9"/>
    <p:sldId id="2134808284" r:id="rId10"/>
    <p:sldId id="2134808438" r:id="rId11"/>
    <p:sldId id="2134808268" r:id="rId12"/>
    <p:sldId id="2134806282" r:id="rId13"/>
    <p:sldId id="2134808270" r:id="rId14"/>
    <p:sldId id="2134808271" r:id="rId15"/>
    <p:sldId id="2134808285" r:id="rId16"/>
    <p:sldId id="2134808273" r:id="rId17"/>
    <p:sldId id="2134808929" r:id="rId18"/>
    <p:sldId id="2134807223" r:id="rId19"/>
    <p:sldId id="2134808870" r:id="rId20"/>
    <p:sldId id="2134808951" r:id="rId21"/>
    <p:sldId id="2134808846" r:id="rId22"/>
    <p:sldId id="2134808930" r:id="rId23"/>
    <p:sldId id="2134808945" r:id="rId24"/>
    <p:sldId id="2134805531" r:id="rId25"/>
    <p:sldId id="2134808437" r:id="rId26"/>
    <p:sldId id="2134808931" r:id="rId27"/>
    <p:sldId id="2134808932" r:id="rId28"/>
    <p:sldId id="2134808852" r:id="rId29"/>
    <p:sldId id="2134808851" r:id="rId30"/>
    <p:sldId id="2134808949" r:id="rId31"/>
    <p:sldId id="2134806216" r:id="rId32"/>
    <p:sldId id="2134808933" r:id="rId33"/>
    <p:sldId id="2134808948" r:id="rId34"/>
    <p:sldId id="2134808935" r:id="rId35"/>
    <p:sldId id="2134808952" r:id="rId36"/>
    <p:sldId id="2134808631" r:id="rId37"/>
    <p:sldId id="2134808954" r:id="rId38"/>
    <p:sldId id="2134808183" r:id="rId39"/>
    <p:sldId id="2134808632" r:id="rId40"/>
    <p:sldId id="2134808587" r:id="rId41"/>
    <p:sldId id="2134808358" r:id="rId42"/>
    <p:sldId id="2134808378" r:id="rId43"/>
    <p:sldId id="2134808857" r:id="rId44"/>
    <p:sldId id="2134808858" r:id="rId45"/>
    <p:sldId id="2134806998" r:id="rId46"/>
    <p:sldId id="2134806999" r:id="rId47"/>
    <p:sldId id="2134808859" r:id="rId48"/>
    <p:sldId id="2134807003" r:id="rId49"/>
    <p:sldId id="2134808910" r:id="rId50"/>
    <p:sldId id="2134807004" r:id="rId51"/>
    <p:sldId id="2134807011" r:id="rId52"/>
    <p:sldId id="2134808293" r:id="rId53"/>
    <p:sldId id="2134808294" r:id="rId54"/>
    <p:sldId id="2134808292" r:id="rId55"/>
    <p:sldId id="2134808295" r:id="rId56"/>
    <p:sldId id="2134808938" r:id="rId57"/>
    <p:sldId id="2134808939" r:id="rId58"/>
    <p:sldId id="2134808940" r:id="rId59"/>
    <p:sldId id="2134808941" r:id="rId60"/>
    <p:sldId id="2134805537" r:id="rId61"/>
    <p:sldId id="2134808467" r:id="rId62"/>
    <p:sldId id="2134808957" r:id="rId63"/>
    <p:sldId id="2134808956" r:id="rId64"/>
    <p:sldId id="2134806115" r:id="rId65"/>
    <p:sldId id="2134808299" r:id="rId66"/>
    <p:sldId id="2134807367" r:id="rId67"/>
    <p:sldId id="2134807368" r:id="rId68"/>
    <p:sldId id="2134807369" r:id="rId69"/>
    <p:sldId id="2134807370" r:id="rId70"/>
    <p:sldId id="2134808928" r:id="rId71"/>
    <p:sldId id="2134807372" r:id="rId72"/>
    <p:sldId id="2134808805" r:id="rId73"/>
    <p:sldId id="2134808775" r:id="rId74"/>
    <p:sldId id="2134808474" r:id="rId75"/>
    <p:sldId id="2147482339" r:id="rId76"/>
  </p:sldIdLst>
  <p:sldSz cx="13716000" cy="10287000"/>
  <p:notesSz cx="6858000" cy="9144000"/>
  <p:embeddedFontLst>
    <p:embeddedFont>
      <p:font typeface="Cambria" panose="02040503050406030204" pitchFamily="18" charset="0"/>
      <p:regular r:id="rId78"/>
      <p:bold r:id="rId79"/>
      <p:italic r:id="rId80"/>
      <p:boldItalic r:id="rId81"/>
    </p:embeddedFont>
    <p:embeddedFont>
      <p:font typeface="Candara" panose="020E0502030303020204" pitchFamily="34" charset="0"/>
      <p:regular r:id="rId82"/>
      <p:bold r:id="rId83"/>
      <p:italic r:id="rId84"/>
      <p:boldItalic r:id="rId85"/>
    </p:embeddedFont>
    <p:embeddedFont>
      <p:font typeface="Carelia" panose="020B0604020202020204" charset="0"/>
      <p:regular r:id="rId86"/>
    </p:embeddedFont>
    <p:embeddedFont>
      <p:font typeface="Dosis" pitchFamily="2" charset="0"/>
      <p:regular r:id="rId87"/>
      <p:bold r:id="rId88"/>
    </p:embeddedFont>
    <p:embeddedFont>
      <p:font typeface="Dosis Bold" charset="0"/>
      <p:regular r:id="rId89"/>
      <p:bold r:id="rId90"/>
    </p:embeddedFont>
    <p:embeddedFont>
      <p:font typeface="Dosis Medium" pitchFamily="2" charset="0"/>
      <p:regular r:id="rId91"/>
    </p:embeddedFont>
    <p:embeddedFont>
      <p:font typeface="KG Primary Penmanship 2" panose="020B0604020202020204" charset="0"/>
      <p:regular r:id="rId92"/>
    </p:embeddedFont>
    <p:embeddedFont>
      <p:font typeface="KG Primary Penmanship Alt" panose="020B0604020202020204" charset="0"/>
      <p:regular r:id="rId93"/>
    </p:embeddedFont>
    <p:embeddedFont>
      <p:font typeface="Montserrat" panose="00000500000000000000" pitchFamily="2" charset="0"/>
      <p:regular r:id="rId94"/>
      <p:bold r:id="rId95"/>
      <p:italic r:id="rId96"/>
      <p:boldItalic r:id="rId97"/>
    </p:embeddedFont>
    <p:embeddedFont>
      <p:font typeface="Traditional Arabic" panose="02020603050405020304" pitchFamily="18" charset="-78"/>
      <p:regular r:id="rId98"/>
      <p:bold r:id="rId99"/>
    </p:embeddedFont>
  </p:embeddedFontLst>
  <p:defaultTextStyle>
    <a:defPPr>
      <a:defRPr lang="fr-FR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803F"/>
    <a:srgbClr val="F2F2F2"/>
    <a:srgbClr val="7F7F7F"/>
    <a:srgbClr val="106584"/>
    <a:srgbClr val="FDEADA"/>
    <a:srgbClr val="FFFFFF"/>
    <a:srgbClr val="F7F1BD"/>
    <a:srgbClr val="106585"/>
    <a:srgbClr val="426C7C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72" autoAdjust="0"/>
    <p:restoredTop sz="95196" autoAdjust="0"/>
  </p:normalViewPr>
  <p:slideViewPr>
    <p:cSldViewPr snapToGrid="0">
      <p:cViewPr varScale="1">
        <p:scale>
          <a:sx n="55" d="100"/>
          <a:sy n="55" d="100"/>
        </p:scale>
        <p:origin x="1238" y="53"/>
      </p:cViewPr>
      <p:guideLst>
        <p:guide orient="horz" pos="3240"/>
        <p:guide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font" Target="fonts/font7.fntdata"/><Relationship Id="rId89" Type="http://schemas.openxmlformats.org/officeDocument/2006/relationships/font" Target="fonts/font12.fntdata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font" Target="fonts/font2.fntdata"/><Relationship Id="rId102" Type="http://schemas.openxmlformats.org/officeDocument/2006/relationships/theme" Target="theme/theme1.xml"/><Relationship Id="rId5" Type="http://schemas.openxmlformats.org/officeDocument/2006/relationships/slide" Target="slides/slide1.xml"/><Relationship Id="rId90" Type="http://schemas.openxmlformats.org/officeDocument/2006/relationships/font" Target="fonts/font13.fntdata"/><Relationship Id="rId95" Type="http://schemas.openxmlformats.org/officeDocument/2006/relationships/font" Target="fonts/font18.fntdata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0" Type="http://schemas.openxmlformats.org/officeDocument/2006/relationships/font" Target="fonts/font3.fntdata"/><Relationship Id="rId85" Type="http://schemas.openxmlformats.org/officeDocument/2006/relationships/font" Target="fonts/font8.fntdata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103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font" Target="fonts/font6.fntdata"/><Relationship Id="rId88" Type="http://schemas.openxmlformats.org/officeDocument/2006/relationships/font" Target="fonts/font11.fntdata"/><Relationship Id="rId91" Type="http://schemas.openxmlformats.org/officeDocument/2006/relationships/font" Target="fonts/font14.fntdata"/><Relationship Id="rId96" Type="http://schemas.openxmlformats.org/officeDocument/2006/relationships/font" Target="fonts/font1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font" Target="fonts/font1.fntdata"/><Relationship Id="rId81" Type="http://schemas.openxmlformats.org/officeDocument/2006/relationships/font" Target="fonts/font4.fntdata"/><Relationship Id="rId86" Type="http://schemas.openxmlformats.org/officeDocument/2006/relationships/font" Target="fonts/font9.fntdata"/><Relationship Id="rId94" Type="http://schemas.openxmlformats.org/officeDocument/2006/relationships/font" Target="fonts/font17.fntdata"/><Relationship Id="rId99" Type="http://schemas.openxmlformats.org/officeDocument/2006/relationships/font" Target="fonts/font22.fntdata"/><Relationship Id="rId10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font" Target="fonts/font20.fntdata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font" Target="fonts/font15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font" Target="fonts/font10.fntdata"/><Relationship Id="rId61" Type="http://schemas.openxmlformats.org/officeDocument/2006/relationships/slide" Target="slides/slide57.xml"/><Relationship Id="rId82" Type="http://schemas.openxmlformats.org/officeDocument/2006/relationships/font" Target="fonts/font5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notesMaster" Target="notesMasters/notesMaster1.xml"/><Relationship Id="rId100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font" Target="fonts/font16.fntdata"/><Relationship Id="rId98" Type="http://schemas.openxmlformats.org/officeDocument/2006/relationships/font" Target="fonts/font21.fntdata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A23E8-4B26-4847-82AA-716B989AA6C3}" type="datetimeFigureOut">
              <a:rPr lang="fr-FR" smtClean="0"/>
              <a:t>12/07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29E1B-11DA-4B7D-8F83-C5BDF1FFE55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7191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>
          <a:extLst>
            <a:ext uri="{FF2B5EF4-FFF2-40B4-BE49-F238E27FC236}">
              <a16:creationId xmlns:a16="http://schemas.microsoft.com/office/drawing/2014/main" id="{64BA5DBC-630B-6D2B-86EF-B2541E791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1c9da5e15f_2_12:notes">
            <a:extLst>
              <a:ext uri="{FF2B5EF4-FFF2-40B4-BE49-F238E27FC236}">
                <a16:creationId xmlns:a16="http://schemas.microsoft.com/office/drawing/2014/main" id="{1C01961B-CCB2-14C6-E970-85FA2E43BF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15975" y="860425"/>
            <a:ext cx="5726113" cy="42941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" name="Google Shape;66;g21c9da5e15f_2_12:notes">
            <a:extLst>
              <a:ext uri="{FF2B5EF4-FFF2-40B4-BE49-F238E27FC236}">
                <a16:creationId xmlns:a16="http://schemas.microsoft.com/office/drawing/2014/main" id="{92AAF120-4EAE-105C-0096-6AB849D218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35898" y="5441279"/>
            <a:ext cx="5887174" cy="5154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4700" tIns="104700" rIns="104700" bIns="104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endParaRPr sz="1300"/>
          </a:p>
        </p:txBody>
      </p:sp>
    </p:spTree>
    <p:extLst>
      <p:ext uri="{BB962C8B-B14F-4D97-AF65-F5344CB8AC3E}">
        <p14:creationId xmlns:p14="http://schemas.microsoft.com/office/powerpoint/2010/main" val="235686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341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60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55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997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754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6" y="4406906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6" y="2906716"/>
            <a:ext cx="5829300" cy="150018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1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3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4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6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43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7"/>
            <a:ext cx="3028950" cy="452596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6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3" y="1535114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3" y="2174876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3" y="1535114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9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7" indent="0">
              <a:buNone/>
              <a:defRPr sz="1200" b="1"/>
            </a:lvl4pPr>
            <a:lvl5pPr marL="1371635" indent="0">
              <a:buNone/>
              <a:defRPr sz="1200" b="1"/>
            </a:lvl5pPr>
            <a:lvl6pPr marL="1714542" indent="0">
              <a:buNone/>
              <a:defRPr sz="1200" b="1"/>
            </a:lvl6pPr>
            <a:lvl7pPr marL="2057451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3" y="2174876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54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361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72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4" y="273050"/>
            <a:ext cx="2256236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91" y="273056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4" y="1435106"/>
            <a:ext cx="2256236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59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982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1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6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9" indent="0">
              <a:buNone/>
              <a:defRPr sz="2100"/>
            </a:lvl2pPr>
            <a:lvl3pPr marL="685818" indent="0">
              <a:buNone/>
              <a:defRPr sz="1800"/>
            </a:lvl3pPr>
            <a:lvl4pPr marL="1028727" indent="0">
              <a:buNone/>
              <a:defRPr sz="1500"/>
            </a:lvl4pPr>
            <a:lvl5pPr marL="1371635" indent="0">
              <a:buNone/>
              <a:defRPr sz="1500"/>
            </a:lvl5pPr>
            <a:lvl6pPr marL="1714542" indent="0">
              <a:buNone/>
              <a:defRPr sz="1500"/>
            </a:lvl6pPr>
            <a:lvl7pPr marL="2057451" indent="0">
              <a:buNone/>
              <a:defRPr sz="1500"/>
            </a:lvl7pPr>
            <a:lvl8pPr marL="2400360" indent="0">
              <a:buNone/>
              <a:defRPr sz="1500"/>
            </a:lvl8pPr>
            <a:lvl9pPr marL="2743269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9" indent="0">
              <a:buNone/>
              <a:defRPr sz="900"/>
            </a:lvl2pPr>
            <a:lvl3pPr marL="685818" indent="0">
              <a:buNone/>
              <a:defRPr sz="750"/>
            </a:lvl3pPr>
            <a:lvl4pPr marL="1028727" indent="0">
              <a:buNone/>
              <a:defRPr sz="675"/>
            </a:lvl4pPr>
            <a:lvl5pPr marL="1371635" indent="0">
              <a:buNone/>
              <a:defRPr sz="675"/>
            </a:lvl5pPr>
            <a:lvl6pPr marL="1714542" indent="0">
              <a:buNone/>
              <a:defRPr sz="675"/>
            </a:lvl6pPr>
            <a:lvl7pPr marL="2057451" indent="0">
              <a:buNone/>
              <a:defRPr sz="675"/>
            </a:lvl7pPr>
            <a:lvl8pPr marL="2400360" indent="0">
              <a:buNone/>
              <a:defRPr sz="675"/>
            </a:lvl8pPr>
            <a:lvl9pPr marL="2743269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05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210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5"/>
            <a:ext cx="1543050" cy="58515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5"/>
            <a:ext cx="4514850" cy="58515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379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130425"/>
            <a:ext cx="58293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3886200"/>
            <a:ext cx="48006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037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393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41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33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328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05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535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4406905"/>
            <a:ext cx="58293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906714"/>
            <a:ext cx="58293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21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94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56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099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74643"/>
            <a:ext cx="15430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74643"/>
            <a:ext cx="45148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547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2708687" y="9326435"/>
            <a:ext cx="823050" cy="7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5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04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600205"/>
            <a:ext cx="302895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46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1535113"/>
            <a:ext cx="303014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174875"/>
            <a:ext cx="303014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535113"/>
            <a:ext cx="30313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2174875"/>
            <a:ext cx="3031331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187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17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24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2" y="273050"/>
            <a:ext cx="2256235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9" y="273055"/>
            <a:ext cx="3833813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2" y="1435105"/>
            <a:ext cx="2256235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69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4800600"/>
            <a:ext cx="41148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612775"/>
            <a:ext cx="41148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5367338"/>
            <a:ext cx="41148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9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7"/>
            <a:ext cx="6172200" cy="45259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6"/>
            <a:ext cx="21717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6"/>
            <a:ext cx="1600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5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ctr" defTabSz="685818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81" indent="-257181" algn="l" defTabSz="68581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228" indent="-214319" algn="l" defTabSz="68581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71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80" indent="-171455" algn="l" defTabSz="68581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89" indent="-171455" algn="l" defTabSz="68581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98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7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5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2" indent="-171455" algn="l" defTabSz="6858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7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5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74638"/>
            <a:ext cx="6172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600205"/>
            <a:ext cx="6172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7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6356355"/>
            <a:ext cx="2171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635635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Dosis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38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Dosis" pitchFamily="2" charset="0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Dosis" pitchFamily="2" charset="0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Dosis" pitchFamily="2" charset="0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Dosis" pitchFamily="2" charset="0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Dosis" pitchFamily="2" charset="0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786" y="2382"/>
          <a:ext cx="1787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86" y="2382"/>
                        <a:ext cx="1787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67550" y="890051"/>
            <a:ext cx="12780900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67550" y="2304950"/>
            <a:ext cx="12780900" cy="683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t" anchorCtr="0">
            <a:normAutofit/>
          </a:bodyPr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/>
          <p:nvPr/>
        </p:nvSpPr>
        <p:spPr>
          <a:xfrm>
            <a:off x="5531922" y="9838709"/>
            <a:ext cx="2652156" cy="227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fr" sz="1200" b="0" i="0" u="none" strike="noStrike" cap="none">
                <a:solidFill>
                  <a:srgbClr val="0563C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N°›</a:t>
            </a:fld>
            <a:endParaRPr sz="1200" b="0" i="0" u="none" strike="noStrike" cap="none">
              <a:solidFill>
                <a:srgbClr val="0563C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54" name="Google Shape;54;p13" descr="Résultat de recherche d'images pour &quot;logo royaume du maroc&quot;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645044" y="276097"/>
            <a:ext cx="602585" cy="87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0" y="9858167"/>
            <a:ext cx="3583800" cy="300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38" tIns="68550" rIns="137138" bIns="6855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" sz="1050" b="1" i="1" u="none" strike="noStrike" cap="none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Document confidentiel pour usage interne</a:t>
            </a:r>
            <a:endParaRPr sz="1800" b="1" i="1" u="none" strike="noStrike" cap="none">
              <a:solidFill>
                <a:srgbClr val="C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005918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1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9.svg"/><Relationship Id="rId3" Type="http://schemas.openxmlformats.org/officeDocument/2006/relationships/tags" Target="../tags/tag4.xml"/><Relationship Id="rId21" Type="http://schemas.openxmlformats.org/officeDocument/2006/relationships/image" Target="../media/image1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openxmlformats.org/officeDocument/2006/relationships/image" Target="../media/image7.svg"/><Relationship Id="rId20" Type="http://schemas.openxmlformats.org/officeDocument/2006/relationships/image" Target="../media/image11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6.png"/><Relationship Id="rId10" Type="http://schemas.openxmlformats.org/officeDocument/2006/relationships/tags" Target="../tags/tag11.xml"/><Relationship Id="rId19" Type="http://schemas.openxmlformats.org/officeDocument/2006/relationships/image" Target="../media/image1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image" Target="../media/image5.jpe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07.xml"/><Relationship Id="rId10" Type="http://schemas.openxmlformats.org/officeDocument/2006/relationships/image" Target="../media/image8.png"/><Relationship Id="rId4" Type="http://schemas.openxmlformats.org/officeDocument/2006/relationships/tags" Target="../tags/tag106.xml"/><Relationship Id="rId9" Type="http://schemas.openxmlformats.org/officeDocument/2006/relationships/image" Target="../media/image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36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16.svg"/><Relationship Id="rId5" Type="http://schemas.openxmlformats.org/officeDocument/2006/relationships/tags" Target="../tags/tag112.xml"/><Relationship Id="rId10" Type="http://schemas.openxmlformats.org/officeDocument/2006/relationships/image" Target="../media/image15.png"/><Relationship Id="rId4" Type="http://schemas.openxmlformats.org/officeDocument/2006/relationships/tags" Target="../tags/tag111.xml"/><Relationship Id="rId9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image" Target="../media/image16.svg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image" Target="../media/image15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image" Target="../media/image5.jpeg"/><Relationship Id="rId5" Type="http://schemas.openxmlformats.org/officeDocument/2006/relationships/tags" Target="../tags/tag119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6.xml"/><Relationship Id="rId7" Type="http://schemas.openxmlformats.org/officeDocument/2006/relationships/image" Target="../media/image5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128.xml"/><Relationship Id="rId10" Type="http://schemas.openxmlformats.org/officeDocument/2006/relationships/image" Target="../media/image8.png"/><Relationship Id="rId4" Type="http://schemas.openxmlformats.org/officeDocument/2006/relationships/tags" Target="../tags/tag127.xml"/><Relationship Id="rId9" Type="http://schemas.openxmlformats.org/officeDocument/2006/relationships/image" Target="../media/image7.sv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image" Target="../media/image16.sv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tags" Target="../tags/tag157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image" Target="../media/image15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image" Target="../media/image5.jpeg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slideLayout" Target="../slideLayouts/slideLayout7.xml"/><Relationship Id="rId8" Type="http://schemas.openxmlformats.org/officeDocument/2006/relationships/tags" Target="../tags/tag13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image" Target="../media/image37.png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12" Type="http://schemas.openxmlformats.org/officeDocument/2006/relationships/image" Target="../media/image16.sv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image" Target="../media/image15.png"/><Relationship Id="rId5" Type="http://schemas.openxmlformats.org/officeDocument/2006/relationships/tags" Target="../tags/tag162.xml"/><Relationship Id="rId15" Type="http://schemas.openxmlformats.org/officeDocument/2006/relationships/image" Target="../media/image39.png"/><Relationship Id="rId10" Type="http://schemas.openxmlformats.org/officeDocument/2006/relationships/image" Target="../media/image5.jpeg"/><Relationship Id="rId4" Type="http://schemas.openxmlformats.org/officeDocument/2006/relationships/tags" Target="../tags/tag161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168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9.sv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image" Target="../media/image8.png"/><Relationship Id="rId5" Type="http://schemas.openxmlformats.org/officeDocument/2006/relationships/tags" Target="../tags/tag170.xml"/><Relationship Id="rId10" Type="http://schemas.openxmlformats.org/officeDocument/2006/relationships/image" Target="../media/image7.svg"/><Relationship Id="rId4" Type="http://schemas.openxmlformats.org/officeDocument/2006/relationships/tags" Target="../tags/tag169.xml"/><Relationship Id="rId9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image" Target="../media/image5.jpeg"/><Relationship Id="rId18" Type="http://schemas.openxmlformats.org/officeDocument/2006/relationships/image" Target="../media/image42.png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41.svg"/><Relationship Id="rId2" Type="http://schemas.openxmlformats.org/officeDocument/2006/relationships/tags" Target="../tags/tag173.xml"/><Relationship Id="rId16" Type="http://schemas.openxmlformats.org/officeDocument/2006/relationships/image" Target="../media/image40.png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5" Type="http://schemas.openxmlformats.org/officeDocument/2006/relationships/tags" Target="../tags/tag176.xml"/><Relationship Id="rId15" Type="http://schemas.openxmlformats.org/officeDocument/2006/relationships/image" Target="../media/image29.svg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image" Target="../media/image43.png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image" Target="../media/image19.svg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image" Target="../media/image18.png"/><Relationship Id="rId5" Type="http://schemas.openxmlformats.org/officeDocument/2006/relationships/tags" Target="../tags/tag187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194.xml"/><Relationship Id="rId7" Type="http://schemas.openxmlformats.org/officeDocument/2006/relationships/image" Target="../media/image18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96.xml"/><Relationship Id="rId4" Type="http://schemas.openxmlformats.org/officeDocument/2006/relationships/tags" Target="../tags/tag195.xml"/><Relationship Id="rId9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7.svg"/><Relationship Id="rId2" Type="http://schemas.openxmlformats.org/officeDocument/2006/relationships/tags" Target="../tags/tag15.xml"/><Relationship Id="rId16" Type="http://schemas.openxmlformats.org/officeDocument/2006/relationships/image" Target="../media/image14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6.png"/><Relationship Id="rId5" Type="http://schemas.openxmlformats.org/officeDocument/2006/relationships/tags" Target="../tags/tag18.xml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199.xml"/><Relationship Id="rId7" Type="http://schemas.openxmlformats.org/officeDocument/2006/relationships/image" Target="../media/image18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01.xml"/><Relationship Id="rId4" Type="http://schemas.openxmlformats.org/officeDocument/2006/relationships/tags" Target="../tags/tag200.xml"/><Relationship Id="rId9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04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11" Type="http://schemas.openxmlformats.org/officeDocument/2006/relationships/image" Target="../media/image44.png"/><Relationship Id="rId5" Type="http://schemas.openxmlformats.org/officeDocument/2006/relationships/tags" Target="../tags/tag206.xml"/><Relationship Id="rId10" Type="http://schemas.openxmlformats.org/officeDocument/2006/relationships/image" Target="../media/image33.png"/><Relationship Id="rId4" Type="http://schemas.openxmlformats.org/officeDocument/2006/relationships/tags" Target="../tags/tag205.xml"/><Relationship Id="rId9" Type="http://schemas.openxmlformats.org/officeDocument/2006/relationships/image" Target="../media/image19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image" Target="../media/image19.sv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image" Target="../media/image18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12.xml"/><Relationship Id="rId10" Type="http://schemas.openxmlformats.org/officeDocument/2006/relationships/tags" Target="../tags/tag217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2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image" Target="../media/image44.png"/><Relationship Id="rId5" Type="http://schemas.openxmlformats.org/officeDocument/2006/relationships/tags" Target="../tags/tag222.xml"/><Relationship Id="rId10" Type="http://schemas.openxmlformats.org/officeDocument/2006/relationships/image" Target="../media/image33.png"/><Relationship Id="rId4" Type="http://schemas.openxmlformats.org/officeDocument/2006/relationships/tags" Target="../tags/tag221.xml"/><Relationship Id="rId9" Type="http://schemas.openxmlformats.org/officeDocument/2006/relationships/image" Target="../media/image19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13" Type="http://schemas.openxmlformats.org/officeDocument/2006/relationships/image" Target="../media/image19.svg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12" Type="http://schemas.openxmlformats.org/officeDocument/2006/relationships/image" Target="../media/image18.png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28.xml"/><Relationship Id="rId10" Type="http://schemas.openxmlformats.org/officeDocument/2006/relationships/tags" Target="../tags/tag233.xml"/><Relationship Id="rId4" Type="http://schemas.openxmlformats.org/officeDocument/2006/relationships/tags" Target="../tags/tag227.xml"/><Relationship Id="rId9" Type="http://schemas.openxmlformats.org/officeDocument/2006/relationships/tags" Target="../tags/tag232.xml"/><Relationship Id="rId1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7.png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12" Type="http://schemas.openxmlformats.org/officeDocument/2006/relationships/tags" Target="../tags/tag245.xml"/><Relationship Id="rId17" Type="http://schemas.openxmlformats.org/officeDocument/2006/relationships/image" Target="../media/image46.png"/><Relationship Id="rId2" Type="http://schemas.openxmlformats.org/officeDocument/2006/relationships/tags" Target="../tags/tag235.xml"/><Relationship Id="rId16" Type="http://schemas.openxmlformats.org/officeDocument/2006/relationships/image" Target="../media/image22.png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tags" Target="../tags/tag244.xml"/><Relationship Id="rId5" Type="http://schemas.openxmlformats.org/officeDocument/2006/relationships/tags" Target="../tags/tag238.xml"/><Relationship Id="rId15" Type="http://schemas.openxmlformats.org/officeDocument/2006/relationships/image" Target="../media/image19.svg"/><Relationship Id="rId10" Type="http://schemas.openxmlformats.org/officeDocument/2006/relationships/tags" Target="../tags/tag243.xml"/><Relationship Id="rId4" Type="http://schemas.openxmlformats.org/officeDocument/2006/relationships/tags" Target="../tags/tag237.xml"/><Relationship Id="rId9" Type="http://schemas.openxmlformats.org/officeDocument/2006/relationships/tags" Target="../tags/tag242.xml"/><Relationship Id="rId14" Type="http://schemas.openxmlformats.org/officeDocument/2006/relationships/image" Target="../media/image1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image" Target="../media/image46.png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image" Target="../media/image23.png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tags" Target="../tags/tag251.xml"/><Relationship Id="rId11" Type="http://schemas.openxmlformats.org/officeDocument/2006/relationships/image" Target="../media/image19.svg"/><Relationship Id="rId5" Type="http://schemas.openxmlformats.org/officeDocument/2006/relationships/tags" Target="../tags/tag250.xml"/><Relationship Id="rId10" Type="http://schemas.openxmlformats.org/officeDocument/2006/relationships/image" Target="../media/image18.png"/><Relationship Id="rId4" Type="http://schemas.openxmlformats.org/officeDocument/2006/relationships/tags" Target="../tags/tag249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256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image" Target="../media/image8.png"/><Relationship Id="rId5" Type="http://schemas.openxmlformats.org/officeDocument/2006/relationships/tags" Target="../tags/tag258.xml"/><Relationship Id="rId10" Type="http://schemas.openxmlformats.org/officeDocument/2006/relationships/image" Target="../media/image7.svg"/><Relationship Id="rId4" Type="http://schemas.openxmlformats.org/officeDocument/2006/relationships/tags" Target="../tags/tag257.xml"/><Relationship Id="rId9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7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1.svg"/><Relationship Id="rId3" Type="http://schemas.openxmlformats.org/officeDocument/2006/relationships/tags" Target="../tags/tag262.xml"/><Relationship Id="rId7" Type="http://schemas.openxmlformats.org/officeDocument/2006/relationships/tags" Target="../tags/tag266.xml"/><Relationship Id="rId12" Type="http://schemas.openxmlformats.org/officeDocument/2006/relationships/tags" Target="../tags/tag271.xml"/><Relationship Id="rId17" Type="http://schemas.openxmlformats.org/officeDocument/2006/relationships/image" Target="../media/image40.png"/><Relationship Id="rId2" Type="http://schemas.openxmlformats.org/officeDocument/2006/relationships/tags" Target="../tags/tag261.xml"/><Relationship Id="rId16" Type="http://schemas.openxmlformats.org/officeDocument/2006/relationships/image" Target="../media/image29.svg"/><Relationship Id="rId1" Type="http://schemas.openxmlformats.org/officeDocument/2006/relationships/tags" Target="../tags/tag260.xml"/><Relationship Id="rId6" Type="http://schemas.openxmlformats.org/officeDocument/2006/relationships/tags" Target="../tags/tag265.xml"/><Relationship Id="rId11" Type="http://schemas.openxmlformats.org/officeDocument/2006/relationships/tags" Target="../tags/tag270.xml"/><Relationship Id="rId5" Type="http://schemas.openxmlformats.org/officeDocument/2006/relationships/tags" Target="../tags/tag264.xml"/><Relationship Id="rId15" Type="http://schemas.openxmlformats.org/officeDocument/2006/relationships/image" Target="../media/image15.png"/><Relationship Id="rId10" Type="http://schemas.openxmlformats.org/officeDocument/2006/relationships/tags" Target="../tags/tag269.xml"/><Relationship Id="rId19" Type="http://schemas.openxmlformats.org/officeDocument/2006/relationships/image" Target="../media/image42.png"/><Relationship Id="rId4" Type="http://schemas.openxmlformats.org/officeDocument/2006/relationships/tags" Target="../tags/tag263.xml"/><Relationship Id="rId9" Type="http://schemas.openxmlformats.org/officeDocument/2006/relationships/tags" Target="../tags/tag268.xml"/><Relationship Id="rId14" Type="http://schemas.openxmlformats.org/officeDocument/2006/relationships/image" Target="../media/image5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50.png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image" Target="../media/image49.PNG"/><Relationship Id="rId2" Type="http://schemas.openxmlformats.org/officeDocument/2006/relationships/tags" Target="../tags/tag273.xml"/><Relationship Id="rId16" Type="http://schemas.openxmlformats.org/officeDocument/2006/relationships/image" Target="../media/image48.png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image" Target="../media/image19.svg"/><Relationship Id="rId10" Type="http://schemas.openxmlformats.org/officeDocument/2006/relationships/tags" Target="../tags/tag281.xml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5.jpe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26.xml"/><Relationship Id="rId10" Type="http://schemas.openxmlformats.org/officeDocument/2006/relationships/image" Target="../media/image8.png"/><Relationship Id="rId4" Type="http://schemas.openxmlformats.org/officeDocument/2006/relationships/tags" Target="../tags/tag25.xml"/><Relationship Id="rId9" Type="http://schemas.openxmlformats.org/officeDocument/2006/relationships/image" Target="../media/image7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tags" Target="../tags/tag294.xml"/><Relationship Id="rId18" Type="http://schemas.openxmlformats.org/officeDocument/2006/relationships/image" Target="../media/image48.png"/><Relationship Id="rId3" Type="http://schemas.openxmlformats.org/officeDocument/2006/relationships/tags" Target="../tags/tag286.xml"/><Relationship Id="rId21" Type="http://schemas.openxmlformats.org/officeDocument/2006/relationships/image" Target="../media/image51.png"/><Relationship Id="rId7" Type="http://schemas.openxmlformats.org/officeDocument/2006/relationships/tags" Target="../tags/tag290.xml"/><Relationship Id="rId12" Type="http://schemas.openxmlformats.org/officeDocument/2006/relationships/tags" Target="../tags/tag293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285.xml"/><Relationship Id="rId16" Type="http://schemas.openxmlformats.org/officeDocument/2006/relationships/tags" Target="../tags/tag297.xml"/><Relationship Id="rId20" Type="http://schemas.openxmlformats.org/officeDocument/2006/relationships/image" Target="../media/image50.png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tags" Target="../tags/tag292.xml"/><Relationship Id="rId5" Type="http://schemas.openxmlformats.org/officeDocument/2006/relationships/tags" Target="../tags/tag288.xml"/><Relationship Id="rId15" Type="http://schemas.openxmlformats.org/officeDocument/2006/relationships/tags" Target="../tags/tag296.xml"/><Relationship Id="rId10" Type="http://schemas.openxmlformats.org/officeDocument/2006/relationships/audio" Target="../media/media1.wav"/><Relationship Id="rId19" Type="http://schemas.openxmlformats.org/officeDocument/2006/relationships/image" Target="../media/image49.PNG"/><Relationship Id="rId4" Type="http://schemas.openxmlformats.org/officeDocument/2006/relationships/tags" Target="../tags/tag287.xml"/><Relationship Id="rId9" Type="http://schemas.microsoft.com/office/2007/relationships/media" Target="../media/media1.wav"/><Relationship Id="rId14" Type="http://schemas.openxmlformats.org/officeDocument/2006/relationships/tags" Target="../tags/tag295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305.xml"/><Relationship Id="rId13" Type="http://schemas.openxmlformats.org/officeDocument/2006/relationships/image" Target="../media/image19.svg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12" Type="http://schemas.openxmlformats.org/officeDocument/2006/relationships/image" Target="../media/image18.png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302.xml"/><Relationship Id="rId10" Type="http://schemas.openxmlformats.org/officeDocument/2006/relationships/tags" Target="../tags/tag307.xml"/><Relationship Id="rId4" Type="http://schemas.openxmlformats.org/officeDocument/2006/relationships/tags" Target="../tags/tag301.xml"/><Relationship Id="rId9" Type="http://schemas.openxmlformats.org/officeDocument/2006/relationships/tags" Target="../tags/tag306.xml"/><Relationship Id="rId14" Type="http://schemas.openxmlformats.org/officeDocument/2006/relationships/image" Target="../media/image52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13" Type="http://schemas.openxmlformats.org/officeDocument/2006/relationships/tags" Target="../tags/tag318.xml"/><Relationship Id="rId18" Type="http://schemas.openxmlformats.org/officeDocument/2006/relationships/image" Target="../media/image48.png"/><Relationship Id="rId3" Type="http://schemas.openxmlformats.org/officeDocument/2006/relationships/tags" Target="../tags/tag310.xml"/><Relationship Id="rId21" Type="http://schemas.openxmlformats.org/officeDocument/2006/relationships/image" Target="../media/image51.png"/><Relationship Id="rId7" Type="http://schemas.openxmlformats.org/officeDocument/2006/relationships/tags" Target="../tags/tag314.xml"/><Relationship Id="rId12" Type="http://schemas.openxmlformats.org/officeDocument/2006/relationships/tags" Target="../tags/tag317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309.xml"/><Relationship Id="rId16" Type="http://schemas.openxmlformats.org/officeDocument/2006/relationships/tags" Target="../tags/tag321.xml"/><Relationship Id="rId20" Type="http://schemas.openxmlformats.org/officeDocument/2006/relationships/image" Target="../media/image50.png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11" Type="http://schemas.openxmlformats.org/officeDocument/2006/relationships/tags" Target="../tags/tag316.xml"/><Relationship Id="rId5" Type="http://schemas.openxmlformats.org/officeDocument/2006/relationships/tags" Target="../tags/tag312.xml"/><Relationship Id="rId15" Type="http://schemas.openxmlformats.org/officeDocument/2006/relationships/tags" Target="../tags/tag320.xml"/><Relationship Id="rId10" Type="http://schemas.openxmlformats.org/officeDocument/2006/relationships/audio" Target="../media/media1.wav"/><Relationship Id="rId19" Type="http://schemas.openxmlformats.org/officeDocument/2006/relationships/image" Target="../media/image49.PNG"/><Relationship Id="rId4" Type="http://schemas.openxmlformats.org/officeDocument/2006/relationships/tags" Target="../tags/tag311.xml"/><Relationship Id="rId9" Type="http://schemas.microsoft.com/office/2007/relationships/media" Target="../media/media1.wav"/><Relationship Id="rId14" Type="http://schemas.openxmlformats.org/officeDocument/2006/relationships/tags" Target="../tags/tag319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13" Type="http://schemas.openxmlformats.org/officeDocument/2006/relationships/image" Target="../media/image50.png"/><Relationship Id="rId3" Type="http://schemas.openxmlformats.org/officeDocument/2006/relationships/tags" Target="../tags/tag324.xml"/><Relationship Id="rId7" Type="http://schemas.openxmlformats.org/officeDocument/2006/relationships/tags" Target="../tags/tag328.xml"/><Relationship Id="rId12" Type="http://schemas.openxmlformats.org/officeDocument/2006/relationships/image" Target="../media/image48.png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11" Type="http://schemas.openxmlformats.org/officeDocument/2006/relationships/image" Target="../media/image19.svg"/><Relationship Id="rId5" Type="http://schemas.openxmlformats.org/officeDocument/2006/relationships/tags" Target="../tags/tag326.xml"/><Relationship Id="rId15" Type="http://schemas.openxmlformats.org/officeDocument/2006/relationships/image" Target="../media/image46.png"/><Relationship Id="rId10" Type="http://schemas.openxmlformats.org/officeDocument/2006/relationships/image" Target="../media/image18.png"/><Relationship Id="rId4" Type="http://schemas.openxmlformats.org/officeDocument/2006/relationships/tags" Target="../tags/tag325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53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337.xml"/><Relationship Id="rId13" Type="http://schemas.openxmlformats.org/officeDocument/2006/relationships/tags" Target="../tags/tag342.xml"/><Relationship Id="rId18" Type="http://schemas.openxmlformats.org/officeDocument/2006/relationships/image" Target="../media/image50.png"/><Relationship Id="rId3" Type="http://schemas.openxmlformats.org/officeDocument/2006/relationships/tags" Target="../tags/tag332.xml"/><Relationship Id="rId21" Type="http://schemas.openxmlformats.org/officeDocument/2006/relationships/image" Target="../media/image46.png"/><Relationship Id="rId7" Type="http://schemas.openxmlformats.org/officeDocument/2006/relationships/tags" Target="../tags/tag336.xml"/><Relationship Id="rId12" Type="http://schemas.openxmlformats.org/officeDocument/2006/relationships/tags" Target="../tags/tag341.xml"/><Relationship Id="rId17" Type="http://schemas.openxmlformats.org/officeDocument/2006/relationships/image" Target="../media/image19.svg"/><Relationship Id="rId2" Type="http://schemas.openxmlformats.org/officeDocument/2006/relationships/tags" Target="../tags/tag331.xml"/><Relationship Id="rId16" Type="http://schemas.openxmlformats.org/officeDocument/2006/relationships/image" Target="../media/image18.png"/><Relationship Id="rId20" Type="http://schemas.openxmlformats.org/officeDocument/2006/relationships/image" Target="../media/image54.png"/><Relationship Id="rId1" Type="http://schemas.openxmlformats.org/officeDocument/2006/relationships/tags" Target="../tags/tag330.xml"/><Relationship Id="rId6" Type="http://schemas.openxmlformats.org/officeDocument/2006/relationships/tags" Target="../tags/tag335.xml"/><Relationship Id="rId11" Type="http://schemas.openxmlformats.org/officeDocument/2006/relationships/tags" Target="../tags/tag340.xml"/><Relationship Id="rId5" Type="http://schemas.openxmlformats.org/officeDocument/2006/relationships/tags" Target="../tags/tag334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39.xml"/><Relationship Id="rId19" Type="http://schemas.openxmlformats.org/officeDocument/2006/relationships/image" Target="../media/image53.jpeg"/><Relationship Id="rId4" Type="http://schemas.openxmlformats.org/officeDocument/2006/relationships/tags" Target="../tags/tag333.xml"/><Relationship Id="rId9" Type="http://schemas.openxmlformats.org/officeDocument/2006/relationships/tags" Target="../tags/tag338.xml"/><Relationship Id="rId14" Type="http://schemas.openxmlformats.org/officeDocument/2006/relationships/tags" Target="../tags/tag34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tags" Target="../tags/tag356.xml"/><Relationship Id="rId18" Type="http://schemas.openxmlformats.org/officeDocument/2006/relationships/image" Target="../media/image48.png"/><Relationship Id="rId3" Type="http://schemas.openxmlformats.org/officeDocument/2006/relationships/tags" Target="../tags/tag346.xml"/><Relationship Id="rId21" Type="http://schemas.openxmlformats.org/officeDocument/2006/relationships/image" Target="../media/image49.PNG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17" Type="http://schemas.openxmlformats.org/officeDocument/2006/relationships/image" Target="../media/image19.svg"/><Relationship Id="rId2" Type="http://schemas.openxmlformats.org/officeDocument/2006/relationships/tags" Target="../tags/tag345.xml"/><Relationship Id="rId16" Type="http://schemas.openxmlformats.org/officeDocument/2006/relationships/image" Target="../media/image18.png"/><Relationship Id="rId20" Type="http://schemas.openxmlformats.org/officeDocument/2006/relationships/image" Target="../media/image46.png"/><Relationship Id="rId1" Type="http://schemas.openxmlformats.org/officeDocument/2006/relationships/tags" Target="../tags/tag344.x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5" Type="http://schemas.openxmlformats.org/officeDocument/2006/relationships/tags" Target="../tags/tag348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53.xml"/><Relationship Id="rId19" Type="http://schemas.openxmlformats.org/officeDocument/2006/relationships/image" Target="../media/image55.png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tags" Target="../tags/tag35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365.xml"/><Relationship Id="rId13" Type="http://schemas.openxmlformats.org/officeDocument/2006/relationships/tags" Target="../tags/tag370.xml"/><Relationship Id="rId18" Type="http://schemas.openxmlformats.org/officeDocument/2006/relationships/image" Target="../media/image54.png"/><Relationship Id="rId3" Type="http://schemas.openxmlformats.org/officeDocument/2006/relationships/tags" Target="../tags/tag360.xml"/><Relationship Id="rId21" Type="http://schemas.openxmlformats.org/officeDocument/2006/relationships/image" Target="../media/image49.PNG"/><Relationship Id="rId7" Type="http://schemas.openxmlformats.org/officeDocument/2006/relationships/tags" Target="../tags/tag364.xml"/><Relationship Id="rId12" Type="http://schemas.openxmlformats.org/officeDocument/2006/relationships/tags" Target="../tags/tag369.xml"/><Relationship Id="rId17" Type="http://schemas.openxmlformats.org/officeDocument/2006/relationships/image" Target="../media/image19.svg"/><Relationship Id="rId2" Type="http://schemas.openxmlformats.org/officeDocument/2006/relationships/tags" Target="../tags/tag359.xml"/><Relationship Id="rId16" Type="http://schemas.openxmlformats.org/officeDocument/2006/relationships/image" Target="../media/image18.png"/><Relationship Id="rId20" Type="http://schemas.openxmlformats.org/officeDocument/2006/relationships/image" Target="../media/image46.png"/><Relationship Id="rId1" Type="http://schemas.openxmlformats.org/officeDocument/2006/relationships/tags" Target="../tags/tag358.xml"/><Relationship Id="rId6" Type="http://schemas.openxmlformats.org/officeDocument/2006/relationships/tags" Target="../tags/tag363.xml"/><Relationship Id="rId11" Type="http://schemas.openxmlformats.org/officeDocument/2006/relationships/tags" Target="../tags/tag368.xml"/><Relationship Id="rId5" Type="http://schemas.openxmlformats.org/officeDocument/2006/relationships/tags" Target="../tags/tag362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67.xml"/><Relationship Id="rId19" Type="http://schemas.openxmlformats.org/officeDocument/2006/relationships/image" Target="../media/image55.png"/><Relationship Id="rId4" Type="http://schemas.openxmlformats.org/officeDocument/2006/relationships/tags" Target="../tags/tag361.xml"/><Relationship Id="rId9" Type="http://schemas.openxmlformats.org/officeDocument/2006/relationships/tags" Target="../tags/tag366.xml"/><Relationship Id="rId14" Type="http://schemas.openxmlformats.org/officeDocument/2006/relationships/tags" Target="../tags/tag37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74.xml"/><Relationship Id="rId7" Type="http://schemas.openxmlformats.org/officeDocument/2006/relationships/image" Target="../media/image18.png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76.xml"/><Relationship Id="rId10" Type="http://schemas.openxmlformats.org/officeDocument/2006/relationships/image" Target="../media/image46.png"/><Relationship Id="rId4" Type="http://schemas.openxmlformats.org/officeDocument/2006/relationships/tags" Target="../tags/tag375.xml"/><Relationship Id="rId9" Type="http://schemas.openxmlformats.org/officeDocument/2006/relationships/image" Target="../media/image2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79.xml"/><Relationship Id="rId7" Type="http://schemas.openxmlformats.org/officeDocument/2006/relationships/image" Target="../media/image22.png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81.xml"/><Relationship Id="rId10" Type="http://schemas.openxmlformats.org/officeDocument/2006/relationships/image" Target="../media/image47.png"/><Relationship Id="rId4" Type="http://schemas.openxmlformats.org/officeDocument/2006/relationships/tags" Target="../tags/tag380.xml"/><Relationship Id="rId9" Type="http://schemas.openxmlformats.org/officeDocument/2006/relationships/image" Target="../media/image19.sv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384.xml"/><Relationship Id="rId7" Type="http://schemas.openxmlformats.org/officeDocument/2006/relationships/image" Target="../media/image18.png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86.xml"/><Relationship Id="rId10" Type="http://schemas.openxmlformats.org/officeDocument/2006/relationships/image" Target="../media/image56.png"/><Relationship Id="rId4" Type="http://schemas.openxmlformats.org/officeDocument/2006/relationships/tags" Target="../tags/tag385.xml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16.svg"/><Relationship Id="rId3" Type="http://schemas.openxmlformats.org/officeDocument/2006/relationships/tags" Target="../tags/tag29.xml"/><Relationship Id="rId21" Type="http://schemas.openxmlformats.org/officeDocument/2006/relationships/image" Target="../media/image19.sv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image" Target="../media/image15.png"/><Relationship Id="rId2" Type="http://schemas.openxmlformats.org/officeDocument/2006/relationships/tags" Target="../tags/tag28.xml"/><Relationship Id="rId16" Type="http://schemas.openxmlformats.org/officeDocument/2006/relationships/image" Target="../media/image5.jpeg"/><Relationship Id="rId20" Type="http://schemas.openxmlformats.org/officeDocument/2006/relationships/image" Target="../media/image18.pn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6.xml"/><Relationship Id="rId19" Type="http://schemas.openxmlformats.org/officeDocument/2006/relationships/image" Target="../media/image17.pn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7.png"/><Relationship Id="rId3" Type="http://schemas.openxmlformats.org/officeDocument/2006/relationships/tags" Target="../tags/tag389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9.svg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6" Type="http://schemas.openxmlformats.org/officeDocument/2006/relationships/tags" Target="../tags/tag392.xml"/><Relationship Id="rId11" Type="http://schemas.openxmlformats.org/officeDocument/2006/relationships/image" Target="../media/image8.png"/><Relationship Id="rId5" Type="http://schemas.openxmlformats.org/officeDocument/2006/relationships/tags" Target="../tags/tag391.xml"/><Relationship Id="rId10" Type="http://schemas.openxmlformats.org/officeDocument/2006/relationships/image" Target="../media/image7.svg"/><Relationship Id="rId4" Type="http://schemas.openxmlformats.org/officeDocument/2006/relationships/tags" Target="../tags/tag390.xml"/><Relationship Id="rId9" Type="http://schemas.openxmlformats.org/officeDocument/2006/relationships/image" Target="../media/image6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400.xml"/><Relationship Id="rId13" Type="http://schemas.openxmlformats.org/officeDocument/2006/relationships/image" Target="../media/image15.png"/><Relationship Id="rId3" Type="http://schemas.openxmlformats.org/officeDocument/2006/relationships/tags" Target="../tags/tag395.xml"/><Relationship Id="rId7" Type="http://schemas.openxmlformats.org/officeDocument/2006/relationships/tags" Target="../tags/tag399.xml"/><Relationship Id="rId12" Type="http://schemas.openxmlformats.org/officeDocument/2006/relationships/image" Target="../media/image5.jpeg"/><Relationship Id="rId17" Type="http://schemas.openxmlformats.org/officeDocument/2006/relationships/image" Target="../media/image42.png"/><Relationship Id="rId2" Type="http://schemas.openxmlformats.org/officeDocument/2006/relationships/tags" Target="../tags/tag394.xml"/><Relationship Id="rId16" Type="http://schemas.openxmlformats.org/officeDocument/2006/relationships/image" Target="../media/image41.svg"/><Relationship Id="rId1" Type="http://schemas.openxmlformats.org/officeDocument/2006/relationships/tags" Target="../tags/tag393.xml"/><Relationship Id="rId6" Type="http://schemas.openxmlformats.org/officeDocument/2006/relationships/tags" Target="../tags/tag398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397.xml"/><Relationship Id="rId15" Type="http://schemas.openxmlformats.org/officeDocument/2006/relationships/image" Target="../media/image40.png"/><Relationship Id="rId10" Type="http://schemas.openxmlformats.org/officeDocument/2006/relationships/tags" Target="../tags/tag402.xml"/><Relationship Id="rId4" Type="http://schemas.openxmlformats.org/officeDocument/2006/relationships/tags" Target="../tags/tag396.xml"/><Relationship Id="rId9" Type="http://schemas.openxmlformats.org/officeDocument/2006/relationships/tags" Target="../tags/tag401.xml"/><Relationship Id="rId14" Type="http://schemas.openxmlformats.org/officeDocument/2006/relationships/image" Target="../media/image29.sv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05.xml"/><Relationship Id="rId7" Type="http://schemas.openxmlformats.org/officeDocument/2006/relationships/image" Target="../media/image18.png"/><Relationship Id="rId2" Type="http://schemas.openxmlformats.org/officeDocument/2006/relationships/tags" Target="../tags/tag404.xml"/><Relationship Id="rId1" Type="http://schemas.openxmlformats.org/officeDocument/2006/relationships/tags" Target="../tags/tag40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07.xml"/><Relationship Id="rId4" Type="http://schemas.openxmlformats.org/officeDocument/2006/relationships/tags" Target="../tags/tag406.xml"/><Relationship Id="rId9" Type="http://schemas.openxmlformats.org/officeDocument/2006/relationships/image" Target="../media/image4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10.xml"/><Relationship Id="rId7" Type="http://schemas.openxmlformats.org/officeDocument/2006/relationships/image" Target="../media/image18.png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12.xml"/><Relationship Id="rId4" Type="http://schemas.openxmlformats.org/officeDocument/2006/relationships/tags" Target="../tags/tag411.xml"/><Relationship Id="rId9" Type="http://schemas.openxmlformats.org/officeDocument/2006/relationships/image" Target="../media/image48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15.xml"/><Relationship Id="rId7" Type="http://schemas.openxmlformats.org/officeDocument/2006/relationships/image" Target="../media/image18.png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17.xml"/><Relationship Id="rId4" Type="http://schemas.openxmlformats.org/officeDocument/2006/relationships/tags" Target="../tags/tag416.xml"/><Relationship Id="rId9" Type="http://schemas.openxmlformats.org/officeDocument/2006/relationships/image" Target="../media/image22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2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19.xml"/><Relationship Id="rId1" Type="http://schemas.openxmlformats.org/officeDocument/2006/relationships/tags" Target="../tags/tag418.xml"/><Relationship Id="rId6" Type="http://schemas.openxmlformats.org/officeDocument/2006/relationships/tags" Target="../tags/tag423.xml"/><Relationship Id="rId11" Type="http://schemas.openxmlformats.org/officeDocument/2006/relationships/image" Target="../media/image57.png"/><Relationship Id="rId5" Type="http://schemas.openxmlformats.org/officeDocument/2006/relationships/tags" Target="../tags/tag422.xml"/><Relationship Id="rId10" Type="http://schemas.openxmlformats.org/officeDocument/2006/relationships/image" Target="../media/image48.png"/><Relationship Id="rId4" Type="http://schemas.openxmlformats.org/officeDocument/2006/relationships/tags" Target="../tags/tag421.xml"/><Relationship Id="rId9" Type="http://schemas.openxmlformats.org/officeDocument/2006/relationships/image" Target="../media/image19.sv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2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6" Type="http://schemas.openxmlformats.org/officeDocument/2006/relationships/tags" Target="../tags/tag429.xml"/><Relationship Id="rId11" Type="http://schemas.openxmlformats.org/officeDocument/2006/relationships/image" Target="../media/image56.png"/><Relationship Id="rId5" Type="http://schemas.openxmlformats.org/officeDocument/2006/relationships/tags" Target="../tags/tag428.xml"/><Relationship Id="rId10" Type="http://schemas.openxmlformats.org/officeDocument/2006/relationships/image" Target="../media/image48.png"/><Relationship Id="rId4" Type="http://schemas.openxmlformats.org/officeDocument/2006/relationships/tags" Target="../tags/tag427.xml"/><Relationship Id="rId9" Type="http://schemas.openxmlformats.org/officeDocument/2006/relationships/image" Target="../media/image19.sv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3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31.xml"/><Relationship Id="rId1" Type="http://schemas.openxmlformats.org/officeDocument/2006/relationships/tags" Target="../tags/tag430.xml"/><Relationship Id="rId6" Type="http://schemas.openxmlformats.org/officeDocument/2006/relationships/tags" Target="../tags/tag435.xml"/><Relationship Id="rId11" Type="http://schemas.openxmlformats.org/officeDocument/2006/relationships/image" Target="../media/image58.png"/><Relationship Id="rId5" Type="http://schemas.openxmlformats.org/officeDocument/2006/relationships/tags" Target="../tags/tag434.xml"/><Relationship Id="rId10" Type="http://schemas.openxmlformats.org/officeDocument/2006/relationships/image" Target="../media/image48.png"/><Relationship Id="rId4" Type="http://schemas.openxmlformats.org/officeDocument/2006/relationships/tags" Target="../tags/tag433.xml"/><Relationship Id="rId9" Type="http://schemas.openxmlformats.org/officeDocument/2006/relationships/image" Target="../media/image19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38.xml"/><Relationship Id="rId7" Type="http://schemas.openxmlformats.org/officeDocument/2006/relationships/image" Target="../media/image18.png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40.xml"/><Relationship Id="rId4" Type="http://schemas.openxmlformats.org/officeDocument/2006/relationships/tags" Target="../tags/tag439.xml"/><Relationship Id="rId9" Type="http://schemas.openxmlformats.org/officeDocument/2006/relationships/image" Target="../media/image59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43.xml"/><Relationship Id="rId7" Type="http://schemas.openxmlformats.org/officeDocument/2006/relationships/image" Target="../media/image18.png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45.xml"/><Relationship Id="rId4" Type="http://schemas.openxmlformats.org/officeDocument/2006/relationships/tags" Target="../tags/tag444.xml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image" Target="../media/image21.jpeg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16.svg"/><Relationship Id="rId33" Type="http://schemas.openxmlformats.org/officeDocument/2006/relationships/image" Target="../media/image28.pn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image" Target="../media/image24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5.png"/><Relationship Id="rId32" Type="http://schemas.openxmlformats.org/officeDocument/2006/relationships/image" Target="../media/image27.pn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5.jpeg"/><Relationship Id="rId28" Type="http://schemas.openxmlformats.org/officeDocument/2006/relationships/image" Target="../media/image23.png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image" Target="../media/image26.jpe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22.png"/><Relationship Id="rId30" Type="http://schemas.openxmlformats.org/officeDocument/2006/relationships/image" Target="../media/image25.jpeg"/><Relationship Id="rId8" Type="http://schemas.openxmlformats.org/officeDocument/2006/relationships/tags" Target="../tags/tag4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48.xml"/><Relationship Id="rId7" Type="http://schemas.openxmlformats.org/officeDocument/2006/relationships/image" Target="../media/image18.png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50.xml"/><Relationship Id="rId4" Type="http://schemas.openxmlformats.org/officeDocument/2006/relationships/tags" Target="../tags/tag449.xml"/><Relationship Id="rId9" Type="http://schemas.openxmlformats.org/officeDocument/2006/relationships/image" Target="../media/image60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53.xml"/><Relationship Id="rId7" Type="http://schemas.openxmlformats.org/officeDocument/2006/relationships/image" Target="../media/image18.png"/><Relationship Id="rId2" Type="http://schemas.openxmlformats.org/officeDocument/2006/relationships/tags" Target="../tags/tag452.xml"/><Relationship Id="rId1" Type="http://schemas.openxmlformats.org/officeDocument/2006/relationships/tags" Target="../tags/tag45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55.xml"/><Relationship Id="rId4" Type="http://schemas.openxmlformats.org/officeDocument/2006/relationships/tags" Target="../tags/tag454.xml"/><Relationship Id="rId9" Type="http://schemas.openxmlformats.org/officeDocument/2006/relationships/image" Target="../media/image24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58.xml"/><Relationship Id="rId7" Type="http://schemas.openxmlformats.org/officeDocument/2006/relationships/image" Target="../media/image18.png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60.xml"/><Relationship Id="rId4" Type="http://schemas.openxmlformats.org/officeDocument/2006/relationships/tags" Target="../tags/tag459.xml"/><Relationship Id="rId9" Type="http://schemas.openxmlformats.org/officeDocument/2006/relationships/image" Target="../media/image59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63.xml"/><Relationship Id="rId7" Type="http://schemas.openxmlformats.org/officeDocument/2006/relationships/image" Target="../media/image18.png"/><Relationship Id="rId2" Type="http://schemas.openxmlformats.org/officeDocument/2006/relationships/tags" Target="../tags/tag462.xml"/><Relationship Id="rId1" Type="http://schemas.openxmlformats.org/officeDocument/2006/relationships/tags" Target="../tags/tag46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65.xml"/><Relationship Id="rId4" Type="http://schemas.openxmlformats.org/officeDocument/2006/relationships/tags" Target="../tags/tag464.xml"/><Relationship Id="rId9" Type="http://schemas.openxmlformats.org/officeDocument/2006/relationships/image" Target="../media/image24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68.xml"/><Relationship Id="rId7" Type="http://schemas.openxmlformats.org/officeDocument/2006/relationships/image" Target="../media/image18.png"/><Relationship Id="rId2" Type="http://schemas.openxmlformats.org/officeDocument/2006/relationships/tags" Target="../tags/tag467.xml"/><Relationship Id="rId1" Type="http://schemas.openxmlformats.org/officeDocument/2006/relationships/tags" Target="../tags/tag46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70.xml"/><Relationship Id="rId4" Type="http://schemas.openxmlformats.org/officeDocument/2006/relationships/tags" Target="../tags/tag469.xml"/><Relationship Id="rId9" Type="http://schemas.openxmlformats.org/officeDocument/2006/relationships/image" Target="../media/image59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73.xml"/><Relationship Id="rId7" Type="http://schemas.openxmlformats.org/officeDocument/2006/relationships/image" Target="../media/image18.png"/><Relationship Id="rId2" Type="http://schemas.openxmlformats.org/officeDocument/2006/relationships/tags" Target="../tags/tag472.xml"/><Relationship Id="rId1" Type="http://schemas.openxmlformats.org/officeDocument/2006/relationships/tags" Target="../tags/tag47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75.xml"/><Relationship Id="rId4" Type="http://schemas.openxmlformats.org/officeDocument/2006/relationships/tags" Target="../tags/tag474.xml"/><Relationship Id="rId9" Type="http://schemas.openxmlformats.org/officeDocument/2006/relationships/image" Target="../media/image24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78.xml"/><Relationship Id="rId7" Type="http://schemas.openxmlformats.org/officeDocument/2006/relationships/image" Target="../media/image18.png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80.xml"/><Relationship Id="rId4" Type="http://schemas.openxmlformats.org/officeDocument/2006/relationships/tags" Target="../tags/tag479.xml"/><Relationship Id="rId9" Type="http://schemas.openxmlformats.org/officeDocument/2006/relationships/image" Target="../media/image59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83.xml"/><Relationship Id="rId7" Type="http://schemas.openxmlformats.org/officeDocument/2006/relationships/image" Target="../media/image18.png"/><Relationship Id="rId2" Type="http://schemas.openxmlformats.org/officeDocument/2006/relationships/tags" Target="../tags/tag482.xml"/><Relationship Id="rId1" Type="http://schemas.openxmlformats.org/officeDocument/2006/relationships/tags" Target="../tags/tag48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85.xml"/><Relationship Id="rId10" Type="http://schemas.openxmlformats.org/officeDocument/2006/relationships/image" Target="../media/image57.png"/><Relationship Id="rId4" Type="http://schemas.openxmlformats.org/officeDocument/2006/relationships/tags" Target="../tags/tag484.xml"/><Relationship Id="rId9" Type="http://schemas.openxmlformats.org/officeDocument/2006/relationships/image" Target="../media/image61.jpe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88.xml"/><Relationship Id="rId7" Type="http://schemas.openxmlformats.org/officeDocument/2006/relationships/image" Target="../media/image18.png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90.xml"/><Relationship Id="rId10" Type="http://schemas.openxmlformats.org/officeDocument/2006/relationships/image" Target="../media/image62.png"/><Relationship Id="rId4" Type="http://schemas.openxmlformats.org/officeDocument/2006/relationships/tags" Target="../tags/tag489.xml"/><Relationship Id="rId9" Type="http://schemas.openxmlformats.org/officeDocument/2006/relationships/image" Target="../media/image61.jpe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93.xml"/><Relationship Id="rId7" Type="http://schemas.openxmlformats.org/officeDocument/2006/relationships/image" Target="../media/image18.png"/><Relationship Id="rId2" Type="http://schemas.openxmlformats.org/officeDocument/2006/relationships/tags" Target="../tags/tag492.xml"/><Relationship Id="rId1" Type="http://schemas.openxmlformats.org/officeDocument/2006/relationships/tags" Target="../tags/tag49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95.xml"/><Relationship Id="rId10" Type="http://schemas.openxmlformats.org/officeDocument/2006/relationships/image" Target="../media/image46.png"/><Relationship Id="rId4" Type="http://schemas.openxmlformats.org/officeDocument/2006/relationships/tags" Target="../tags/tag494.xml"/><Relationship Id="rId9" Type="http://schemas.openxmlformats.org/officeDocument/2006/relationships/image" Target="../media/image6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image" Target="../media/image13.png"/><Relationship Id="rId3" Type="http://schemas.openxmlformats.org/officeDocument/2006/relationships/tags" Target="../tags/tag6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29.svg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image" Target="../media/image32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15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image" Target="../media/image5.jpeg"/><Relationship Id="rId28" Type="http://schemas.openxmlformats.org/officeDocument/2006/relationships/image" Target="../media/image31.png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slideLayout" Target="../slideLayouts/slideLayout18.xml"/><Relationship Id="rId27" Type="http://schemas.openxmlformats.org/officeDocument/2006/relationships/image" Target="../media/image30.png"/><Relationship Id="rId30" Type="http://schemas.openxmlformats.org/officeDocument/2006/relationships/image" Target="../media/image33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98.xml"/><Relationship Id="rId7" Type="http://schemas.openxmlformats.org/officeDocument/2006/relationships/image" Target="../media/image18.png"/><Relationship Id="rId2" Type="http://schemas.openxmlformats.org/officeDocument/2006/relationships/tags" Target="../tags/tag497.xml"/><Relationship Id="rId1" Type="http://schemas.openxmlformats.org/officeDocument/2006/relationships/tags" Target="../tags/tag49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00.xml"/><Relationship Id="rId10" Type="http://schemas.openxmlformats.org/officeDocument/2006/relationships/image" Target="../media/image63.png"/><Relationship Id="rId4" Type="http://schemas.openxmlformats.org/officeDocument/2006/relationships/tags" Target="../tags/tag499.xml"/><Relationship Id="rId9" Type="http://schemas.openxmlformats.org/officeDocument/2006/relationships/image" Target="../media/image61.jpe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50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tags" Target="../tags/tag506.xml"/><Relationship Id="rId11" Type="http://schemas.openxmlformats.org/officeDocument/2006/relationships/image" Target="../media/image64.png"/><Relationship Id="rId5" Type="http://schemas.openxmlformats.org/officeDocument/2006/relationships/tags" Target="../tags/tag505.xml"/><Relationship Id="rId10" Type="http://schemas.openxmlformats.org/officeDocument/2006/relationships/image" Target="../media/image32.png"/><Relationship Id="rId4" Type="http://schemas.openxmlformats.org/officeDocument/2006/relationships/tags" Target="../tags/tag504.xml"/><Relationship Id="rId9" Type="http://schemas.openxmlformats.org/officeDocument/2006/relationships/image" Target="../media/image19.sv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09.xml"/><Relationship Id="rId7" Type="http://schemas.openxmlformats.org/officeDocument/2006/relationships/image" Target="../media/image18.png"/><Relationship Id="rId2" Type="http://schemas.openxmlformats.org/officeDocument/2006/relationships/tags" Target="../tags/tag508.xml"/><Relationship Id="rId1" Type="http://schemas.openxmlformats.org/officeDocument/2006/relationships/tags" Target="../tags/tag50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11.xml"/><Relationship Id="rId4" Type="http://schemas.openxmlformats.org/officeDocument/2006/relationships/tags" Target="../tags/tag510.xml"/><Relationship Id="rId9" Type="http://schemas.openxmlformats.org/officeDocument/2006/relationships/image" Target="../media/image38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14.xml"/><Relationship Id="rId7" Type="http://schemas.openxmlformats.org/officeDocument/2006/relationships/image" Target="../media/image18.png"/><Relationship Id="rId2" Type="http://schemas.openxmlformats.org/officeDocument/2006/relationships/tags" Target="../tags/tag513.xml"/><Relationship Id="rId1" Type="http://schemas.openxmlformats.org/officeDocument/2006/relationships/tags" Target="../tags/tag51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16.xml"/><Relationship Id="rId10" Type="http://schemas.openxmlformats.org/officeDocument/2006/relationships/image" Target="../media/image65.png"/><Relationship Id="rId4" Type="http://schemas.openxmlformats.org/officeDocument/2006/relationships/tags" Target="../tags/tag515.xml"/><Relationship Id="rId9" Type="http://schemas.openxmlformats.org/officeDocument/2006/relationships/image" Target="../media/image26.jpe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13" Type="http://schemas.openxmlformats.org/officeDocument/2006/relationships/image" Target="../media/image18.png"/><Relationship Id="rId3" Type="http://schemas.openxmlformats.org/officeDocument/2006/relationships/tags" Target="../tags/tag519.xml"/><Relationship Id="rId7" Type="http://schemas.openxmlformats.org/officeDocument/2006/relationships/tags" Target="../tags/tag523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518.xml"/><Relationship Id="rId16" Type="http://schemas.openxmlformats.org/officeDocument/2006/relationships/image" Target="../media/image65.png"/><Relationship Id="rId1" Type="http://schemas.openxmlformats.org/officeDocument/2006/relationships/tags" Target="../tags/tag517.xml"/><Relationship Id="rId6" Type="http://schemas.openxmlformats.org/officeDocument/2006/relationships/tags" Target="../tags/tag522.xml"/><Relationship Id="rId11" Type="http://schemas.openxmlformats.org/officeDocument/2006/relationships/tags" Target="../tags/tag527.xml"/><Relationship Id="rId5" Type="http://schemas.openxmlformats.org/officeDocument/2006/relationships/tags" Target="../tags/tag521.xml"/><Relationship Id="rId15" Type="http://schemas.openxmlformats.org/officeDocument/2006/relationships/image" Target="../media/image66.png"/><Relationship Id="rId10" Type="http://schemas.openxmlformats.org/officeDocument/2006/relationships/tags" Target="../tags/tag526.xml"/><Relationship Id="rId4" Type="http://schemas.openxmlformats.org/officeDocument/2006/relationships/tags" Target="../tags/tag520.xml"/><Relationship Id="rId9" Type="http://schemas.openxmlformats.org/officeDocument/2006/relationships/tags" Target="../tags/tag525.xml"/><Relationship Id="rId14" Type="http://schemas.openxmlformats.org/officeDocument/2006/relationships/image" Target="../media/image19.sv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30.xml"/><Relationship Id="rId7" Type="http://schemas.openxmlformats.org/officeDocument/2006/relationships/image" Target="../media/image18.png"/><Relationship Id="rId2" Type="http://schemas.openxmlformats.org/officeDocument/2006/relationships/tags" Target="../tags/tag529.xml"/><Relationship Id="rId1" Type="http://schemas.openxmlformats.org/officeDocument/2006/relationships/tags" Target="../tags/tag528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32.xml"/><Relationship Id="rId10" Type="http://schemas.openxmlformats.org/officeDocument/2006/relationships/image" Target="../media/image67.png"/><Relationship Id="rId4" Type="http://schemas.openxmlformats.org/officeDocument/2006/relationships/tags" Target="../tags/tag531.xml"/><Relationship Id="rId9" Type="http://schemas.openxmlformats.org/officeDocument/2006/relationships/image" Target="../media/image26.jpe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540.xml"/><Relationship Id="rId13" Type="http://schemas.openxmlformats.org/officeDocument/2006/relationships/image" Target="../media/image66.png"/><Relationship Id="rId3" Type="http://schemas.openxmlformats.org/officeDocument/2006/relationships/tags" Target="../tags/tag535.xml"/><Relationship Id="rId7" Type="http://schemas.openxmlformats.org/officeDocument/2006/relationships/tags" Target="../tags/tag539.xml"/><Relationship Id="rId12" Type="http://schemas.openxmlformats.org/officeDocument/2006/relationships/image" Target="../media/image19.svg"/><Relationship Id="rId2" Type="http://schemas.openxmlformats.org/officeDocument/2006/relationships/tags" Target="../tags/tag534.xml"/><Relationship Id="rId1" Type="http://schemas.openxmlformats.org/officeDocument/2006/relationships/tags" Target="../tags/tag533.xml"/><Relationship Id="rId6" Type="http://schemas.openxmlformats.org/officeDocument/2006/relationships/tags" Target="../tags/tag538.xml"/><Relationship Id="rId11" Type="http://schemas.openxmlformats.org/officeDocument/2006/relationships/image" Target="../media/image18.png"/><Relationship Id="rId5" Type="http://schemas.openxmlformats.org/officeDocument/2006/relationships/tags" Target="../tags/tag537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536.xml"/><Relationship Id="rId9" Type="http://schemas.openxmlformats.org/officeDocument/2006/relationships/tags" Target="../tags/tag541.xml"/><Relationship Id="rId14" Type="http://schemas.openxmlformats.org/officeDocument/2006/relationships/image" Target="../media/image67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44.xml"/><Relationship Id="rId7" Type="http://schemas.openxmlformats.org/officeDocument/2006/relationships/image" Target="../media/image18.png"/><Relationship Id="rId2" Type="http://schemas.openxmlformats.org/officeDocument/2006/relationships/tags" Target="../tags/tag543.xml"/><Relationship Id="rId1" Type="http://schemas.openxmlformats.org/officeDocument/2006/relationships/tags" Target="../tags/tag54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46.xml"/><Relationship Id="rId10" Type="http://schemas.openxmlformats.org/officeDocument/2006/relationships/image" Target="../media/image68.png"/><Relationship Id="rId4" Type="http://schemas.openxmlformats.org/officeDocument/2006/relationships/tags" Target="../tags/tag545.xml"/><Relationship Id="rId9" Type="http://schemas.openxmlformats.org/officeDocument/2006/relationships/image" Target="../media/image26.jpe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tags" Target="../tags/tag554.xml"/><Relationship Id="rId13" Type="http://schemas.openxmlformats.org/officeDocument/2006/relationships/image" Target="../media/image68.png"/><Relationship Id="rId3" Type="http://schemas.openxmlformats.org/officeDocument/2006/relationships/tags" Target="../tags/tag549.xml"/><Relationship Id="rId7" Type="http://schemas.openxmlformats.org/officeDocument/2006/relationships/tags" Target="../tags/tag553.xml"/><Relationship Id="rId12" Type="http://schemas.openxmlformats.org/officeDocument/2006/relationships/image" Target="../media/image69.jpeg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tags" Target="../tags/tag552.xml"/><Relationship Id="rId11" Type="http://schemas.openxmlformats.org/officeDocument/2006/relationships/image" Target="../media/image19.svg"/><Relationship Id="rId5" Type="http://schemas.openxmlformats.org/officeDocument/2006/relationships/tags" Target="../tags/tag551.xml"/><Relationship Id="rId10" Type="http://schemas.openxmlformats.org/officeDocument/2006/relationships/image" Target="../media/image18.png"/><Relationship Id="rId4" Type="http://schemas.openxmlformats.org/officeDocument/2006/relationships/tags" Target="../tags/tag550.xml"/><Relationship Id="rId9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tags" Target="../tags/tag560.xml"/><Relationship Id="rId13" Type="http://schemas.openxmlformats.org/officeDocument/2006/relationships/tags" Target="../tags/tag565.xml"/><Relationship Id="rId18" Type="http://schemas.openxmlformats.org/officeDocument/2006/relationships/image" Target="../media/image51.png"/><Relationship Id="rId3" Type="http://schemas.openxmlformats.org/officeDocument/2006/relationships/tags" Target="../tags/tag557.xml"/><Relationship Id="rId7" Type="http://schemas.openxmlformats.org/officeDocument/2006/relationships/audio" Target="../media/media2.mp3"/><Relationship Id="rId12" Type="http://schemas.openxmlformats.org/officeDocument/2006/relationships/tags" Target="../tags/tag564.xml"/><Relationship Id="rId17" Type="http://schemas.openxmlformats.org/officeDocument/2006/relationships/image" Target="../media/image70.gif"/><Relationship Id="rId2" Type="http://schemas.openxmlformats.org/officeDocument/2006/relationships/tags" Target="../tags/tag556.xml"/><Relationship Id="rId16" Type="http://schemas.openxmlformats.org/officeDocument/2006/relationships/image" Target="../media/image19.svg"/><Relationship Id="rId1" Type="http://schemas.openxmlformats.org/officeDocument/2006/relationships/tags" Target="../tags/tag555.xml"/><Relationship Id="rId6" Type="http://schemas.microsoft.com/office/2007/relationships/media" Target="../media/media2.mp3"/><Relationship Id="rId11" Type="http://schemas.openxmlformats.org/officeDocument/2006/relationships/tags" Target="../tags/tag563.xml"/><Relationship Id="rId5" Type="http://schemas.openxmlformats.org/officeDocument/2006/relationships/tags" Target="../tags/tag559.xml"/><Relationship Id="rId15" Type="http://schemas.openxmlformats.org/officeDocument/2006/relationships/image" Target="../media/image18.png"/><Relationship Id="rId10" Type="http://schemas.openxmlformats.org/officeDocument/2006/relationships/tags" Target="../tags/tag562.xml"/><Relationship Id="rId4" Type="http://schemas.openxmlformats.org/officeDocument/2006/relationships/tags" Target="../tags/tag558.xml"/><Relationship Id="rId9" Type="http://schemas.openxmlformats.org/officeDocument/2006/relationships/tags" Target="../tags/tag561.xml"/><Relationship Id="rId14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5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9.svg"/><Relationship Id="rId5" Type="http://schemas.openxmlformats.org/officeDocument/2006/relationships/tags" Target="../tags/tag87.xml"/><Relationship Id="rId10" Type="http://schemas.openxmlformats.org/officeDocument/2006/relationships/image" Target="../media/image15.png"/><Relationship Id="rId4" Type="http://schemas.openxmlformats.org/officeDocument/2006/relationships/tags" Target="../tags/tag86.xml"/><Relationship Id="rId9" Type="http://schemas.openxmlformats.org/officeDocument/2006/relationships/image" Target="../media/image5.jpe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tags" Target="../tags/tag573.xml"/><Relationship Id="rId13" Type="http://schemas.openxmlformats.org/officeDocument/2006/relationships/tags" Target="../tags/tag578.xml"/><Relationship Id="rId18" Type="http://schemas.openxmlformats.org/officeDocument/2006/relationships/image" Target="../media/image72.jpeg"/><Relationship Id="rId3" Type="http://schemas.openxmlformats.org/officeDocument/2006/relationships/tags" Target="../tags/tag568.xml"/><Relationship Id="rId21" Type="http://schemas.microsoft.com/office/2007/relationships/hdphoto" Target="../media/hdphoto1.wdp"/><Relationship Id="rId7" Type="http://schemas.openxmlformats.org/officeDocument/2006/relationships/tags" Target="../tags/tag572.xml"/><Relationship Id="rId12" Type="http://schemas.openxmlformats.org/officeDocument/2006/relationships/tags" Target="../tags/tag577.xml"/><Relationship Id="rId17" Type="http://schemas.openxmlformats.org/officeDocument/2006/relationships/image" Target="../media/image71.jpg"/><Relationship Id="rId2" Type="http://schemas.openxmlformats.org/officeDocument/2006/relationships/tags" Target="../tags/tag567.xml"/><Relationship Id="rId16" Type="http://schemas.openxmlformats.org/officeDocument/2006/relationships/image" Target="../media/image19.svg"/><Relationship Id="rId20" Type="http://schemas.openxmlformats.org/officeDocument/2006/relationships/image" Target="../media/image74.png"/><Relationship Id="rId1" Type="http://schemas.openxmlformats.org/officeDocument/2006/relationships/tags" Target="../tags/tag566.xml"/><Relationship Id="rId6" Type="http://schemas.openxmlformats.org/officeDocument/2006/relationships/tags" Target="../tags/tag571.xml"/><Relationship Id="rId11" Type="http://schemas.openxmlformats.org/officeDocument/2006/relationships/tags" Target="../tags/tag576.xml"/><Relationship Id="rId5" Type="http://schemas.openxmlformats.org/officeDocument/2006/relationships/tags" Target="../tags/tag570.xml"/><Relationship Id="rId15" Type="http://schemas.openxmlformats.org/officeDocument/2006/relationships/image" Target="../media/image18.png"/><Relationship Id="rId10" Type="http://schemas.openxmlformats.org/officeDocument/2006/relationships/tags" Target="../tags/tag575.xml"/><Relationship Id="rId19" Type="http://schemas.openxmlformats.org/officeDocument/2006/relationships/image" Target="../media/image73.jpg"/><Relationship Id="rId4" Type="http://schemas.openxmlformats.org/officeDocument/2006/relationships/tags" Target="../tags/tag569.xml"/><Relationship Id="rId9" Type="http://schemas.openxmlformats.org/officeDocument/2006/relationships/tags" Target="../tags/tag57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75.png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tags" Target="../tags/tag586.xml"/><Relationship Id="rId13" Type="http://schemas.openxmlformats.org/officeDocument/2006/relationships/image" Target="../media/image43.png"/><Relationship Id="rId3" Type="http://schemas.openxmlformats.org/officeDocument/2006/relationships/tags" Target="../tags/tag581.xml"/><Relationship Id="rId7" Type="http://schemas.openxmlformats.org/officeDocument/2006/relationships/tags" Target="../tags/tag585.xml"/><Relationship Id="rId12" Type="http://schemas.openxmlformats.org/officeDocument/2006/relationships/image" Target="../media/image19.svg"/><Relationship Id="rId2" Type="http://schemas.openxmlformats.org/officeDocument/2006/relationships/tags" Target="../tags/tag580.xml"/><Relationship Id="rId1" Type="http://schemas.openxmlformats.org/officeDocument/2006/relationships/tags" Target="../tags/tag579.xml"/><Relationship Id="rId6" Type="http://schemas.openxmlformats.org/officeDocument/2006/relationships/tags" Target="../tags/tag584.xml"/><Relationship Id="rId11" Type="http://schemas.openxmlformats.org/officeDocument/2006/relationships/image" Target="../media/image18.png"/><Relationship Id="rId5" Type="http://schemas.openxmlformats.org/officeDocument/2006/relationships/tags" Target="../tags/tag583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582.xml"/><Relationship Id="rId9" Type="http://schemas.openxmlformats.org/officeDocument/2006/relationships/tags" Target="../tags/tag587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6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588.xml"/><Relationship Id="rId6" Type="http://schemas.openxmlformats.org/officeDocument/2006/relationships/hyperlink" Target="https://docs.google.com/forms/d/e/1FAIpQLSeGbEh4eCfj0ri_aqOht0VG2q1xZDER-dmv6wFZwOP759wbuA/formResponse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2.xml"/><Relationship Id="rId7" Type="http://schemas.openxmlformats.org/officeDocument/2006/relationships/image" Target="../media/image5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svg"/><Relationship Id="rId5" Type="http://schemas.openxmlformats.org/officeDocument/2006/relationships/tags" Target="../tags/tag94.xml"/><Relationship Id="rId10" Type="http://schemas.openxmlformats.org/officeDocument/2006/relationships/image" Target="../media/image8.png"/><Relationship Id="rId4" Type="http://schemas.openxmlformats.org/officeDocument/2006/relationships/tags" Target="../tags/tag93.xml"/><Relationship Id="rId9" Type="http://schemas.openxmlformats.org/officeDocument/2006/relationships/image" Target="../media/image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29.sv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image" Target="../media/image15.png"/><Relationship Id="rId5" Type="http://schemas.openxmlformats.org/officeDocument/2006/relationships/tags" Target="../tags/tag99.xml"/><Relationship Id="rId10" Type="http://schemas.openxmlformats.org/officeDocument/2006/relationships/image" Target="../media/image5.jpeg"/><Relationship Id="rId4" Type="http://schemas.openxmlformats.org/officeDocument/2006/relationships/tags" Target="../tags/tag98.xml"/><Relationship Id="rId9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Freeform 9"/>
          <p:cNvSpPr/>
          <p:nvPr>
            <p:custDataLst>
              <p:tags r:id="rId2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3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12C47DE-24FE-3D2A-2BF4-CF85C52978E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437500" y="2237707"/>
            <a:ext cx="2232407" cy="238238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B6C207-E5D2-BF11-2359-9226E7D840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00401" y="4086296"/>
            <a:ext cx="6963158" cy="1030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5">
              <a:lnSpc>
                <a:spcPts val="7869"/>
              </a:lnSpc>
              <a:defRPr/>
            </a:pPr>
            <a:r>
              <a:rPr lang="en-US" sz="8001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</a:rPr>
              <a:t>Françai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0F4B7C3-30C1-1BB2-02D4-6F424706D3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74729" y="2943079"/>
            <a:ext cx="2757950" cy="605935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Niveau</a:t>
            </a:r>
            <a:r>
              <a:rPr lang="en-US" sz="36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</a:t>
            </a:r>
            <a:r>
              <a:rPr lang="en-US" sz="32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</a:t>
            </a:r>
            <a:r>
              <a:rPr lang="en-US" sz="30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</a:t>
            </a:r>
            <a:r>
              <a:rPr lang="en-US" sz="3300" dirty="0">
                <a:solidFill>
                  <a:srgbClr val="4BACC6">
                    <a:lumMod val="75000"/>
                  </a:srgbClr>
                </a:solidFill>
                <a:latin typeface="Dosis Bold"/>
              </a:rPr>
              <a:t>            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4E4B761-C372-0F2B-E9CC-0DF7A0D44B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67902" y="3516626"/>
            <a:ext cx="1371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5">
              <a:defRPr/>
            </a:pPr>
            <a:r>
              <a:rPr lang="en-US" sz="6000" b="1" dirty="0">
                <a:solidFill>
                  <a:srgbClr val="FCBF18"/>
                </a:solidFill>
                <a:latin typeface="Dosis Bold"/>
              </a:rPr>
              <a:t>1 </a:t>
            </a:r>
            <a:endParaRPr lang="fr-MA" sz="6000" b="1" dirty="0">
              <a:solidFill>
                <a:srgbClr val="FCBF18"/>
              </a:solidFill>
              <a:latin typeface="Dosis" pitchFamily="2" charset="0"/>
            </a:endParaRPr>
          </a:p>
        </p:txBody>
      </p:sp>
      <p:pic>
        <p:nvPicPr>
          <p:cNvPr id="8" name="Picture 2" descr="الصفحة الرئيسية">
            <a:extLst>
              <a:ext uri="{FF2B5EF4-FFF2-40B4-BE49-F238E27FC236}">
                <a16:creationId xmlns:a16="http://schemas.microsoft.com/office/drawing/2014/main" id="{C974ACDD-10FD-D838-8D0D-6B5470FEED51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623" y="753919"/>
            <a:ext cx="6963158" cy="105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411D2F2D-4AAE-4EEF-B851-D408755FBC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71711" y="7148621"/>
            <a:ext cx="6172578" cy="966680"/>
          </a:xfrm>
          <a:prstGeom prst="roundRect">
            <a:avLst>
              <a:gd name="adj" fmla="val 32324"/>
            </a:avLst>
          </a:prstGeom>
          <a:solidFill>
            <a:srgbClr val="215968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D13C3FE6-2C2A-82BC-D09A-A78C99C5328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71711" y="7328993"/>
            <a:ext cx="6172578" cy="6059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5139"/>
              </a:lnSpc>
              <a:defRPr/>
            </a:pPr>
            <a:r>
              <a:rPr lang="en-US" sz="4001" dirty="0" err="1">
                <a:solidFill>
                  <a:prstClr val="white"/>
                </a:solidFill>
                <a:latin typeface="Dosis Bold"/>
              </a:rPr>
              <a:t>Semaine</a:t>
            </a:r>
            <a:r>
              <a:rPr lang="en-US" sz="4001" dirty="0">
                <a:solidFill>
                  <a:prstClr val="white"/>
                </a:solidFill>
                <a:latin typeface="Dosis Bold"/>
              </a:rPr>
              <a:t> 1 - Séance 2</a:t>
            </a: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A3E8B26A-E360-4F3F-FCFA-79DC6106180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99772" y="5354312"/>
            <a:ext cx="8164415" cy="8932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45">
              <a:lnSpc>
                <a:spcPts val="7869"/>
              </a:lnSpc>
              <a:defRPr/>
            </a:pPr>
            <a:r>
              <a:rPr lang="en-US" sz="4400" b="1" dirty="0" err="1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Période</a:t>
            </a:r>
            <a:r>
              <a:rPr lang="en-US" sz="4400" b="1" dirty="0">
                <a:solidFill>
                  <a:srgbClr val="F79646">
                    <a:lumMod val="75000"/>
                  </a:srgbClr>
                </a:solidFill>
                <a:latin typeface="Dosis" pitchFamily="2" charset="0"/>
                <a:cs typeface="DokChampa" panose="020B0604020202020204" pitchFamily="34" charset="-34"/>
              </a:rPr>
              <a:t> 2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B17E0C8-16BE-B035-04C3-D705EA2163D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695536" y="8574280"/>
            <a:ext cx="3225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spcAft>
                <a:spcPts val="1800"/>
              </a:spcAft>
            </a:pPr>
            <a:r>
              <a:rPr lang="fr-FR" sz="2400" b="1" i="1">
                <a:solidFill>
                  <a:prstClr val="white">
                    <a:lumMod val="50000"/>
                  </a:prstClr>
                </a:solidFill>
                <a:latin typeface="Calibri"/>
              </a:rPr>
              <a:t>  </a:t>
            </a:r>
            <a:endParaRPr lang="fr-FR" sz="2400" i="1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6169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>
            <p:custDataLst>
              <p:tags r:id="rId2"/>
            </p:custDataLst>
          </p:nvPr>
        </p:nvSpPr>
        <p:spPr>
          <a:xfrm>
            <a:off x="641110" y="4460417"/>
            <a:ext cx="12769469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  Programme de la période 2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C1086E2-7A06-62F6-C796-804478648C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2889248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762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-26983"/>
            <a:ext cx="12954000" cy="9771484"/>
            <a:chOff x="0" y="-47625"/>
            <a:chExt cx="3895412" cy="2602800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190027"/>
              <a:ext cx="3895412" cy="2365148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1989" y="315096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181198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CC94E17-0C62-CC81-3A06-A8B33AC9655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538" y="1114306"/>
            <a:ext cx="129540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600" b="1" dirty="0">
                <a:solidFill>
                  <a:srgbClr val="106585"/>
                </a:solidFill>
                <a:latin typeface="Dosis" pitchFamily="2" charset="0"/>
              </a:rPr>
              <a:t>Attendus de la période 2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31ED9A6-5C3B-580D-7650-184F1CB14D9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1806" y="8571776"/>
            <a:ext cx="13897946" cy="4750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85835">
              <a:lnSpc>
                <a:spcPts val="4199"/>
              </a:lnSpc>
              <a:defRPr/>
            </a:pP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C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Compréhens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O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Oral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LF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Lecture-Fluence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PE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Production Ecrite   </a:t>
            </a:r>
            <a:r>
              <a:rPr lang="fr-FR" sz="2100" b="1" dirty="0">
                <a:solidFill>
                  <a:srgbClr val="5C9ED1"/>
                </a:solidFill>
                <a:latin typeface="Dosis" pitchFamily="2" charset="0"/>
              </a:rPr>
              <a:t>OL: </a:t>
            </a:r>
            <a:r>
              <a:rPr lang="fr-FR" sz="2100" b="1" dirty="0">
                <a:solidFill>
                  <a:prstClr val="white">
                    <a:lumMod val="50000"/>
                  </a:prstClr>
                </a:solidFill>
                <a:latin typeface="Dosis" pitchFamily="2" charset="0"/>
              </a:rPr>
              <a:t>Outils de Lang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2D56A02-822C-0F86-577A-60DB46E4E2B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992208" y="1980926"/>
            <a:ext cx="9731583" cy="63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5292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F2AB2B-E08D-FD95-174D-B5C493127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62C3D07-5313-E483-D4BA-5D8B351EF0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259080"/>
            <a:ext cx="13716000" cy="1054608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F8835C2D-3F07-748D-8E88-CE32FBAC10A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51812"/>
            <a:ext cx="12954000" cy="9592689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D5959232-B229-B6AC-ADE5-27BA78E7320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D7FB049-5BEA-0DDC-E3DE-2C34D32F915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54FA5C11-2166-6EFA-09E1-A9E569F1D7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9539" y="-25908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9F867EC-A436-557F-BE85-94A4D139101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67236" y="-294369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A1C5B658-B5A3-9509-A0B7-C410DEE833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83926" y="3351362"/>
            <a:ext cx="7902872" cy="4651620"/>
          </a:xfrm>
          <a:prstGeom prst="roundRect">
            <a:avLst>
              <a:gd name="adj" fmla="val 9885"/>
            </a:avLst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7B8B06D-75C4-F895-FF45-3E9EBF1A2B9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974221" y="4389093"/>
            <a:ext cx="6051113" cy="158766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Semaine 1  :  </a:t>
            </a:r>
            <a:r>
              <a:rPr lang="fr-FR" sz="2400" b="1" dirty="0">
                <a:solidFill>
                  <a:schemeClr val="accent1"/>
                </a:solidFill>
                <a:latin typeface="Dosis" pitchFamily="2" charset="0"/>
              </a:rPr>
              <a:t> C’est quo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2 :  Est-ce que tu as…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3 :   Il y a quoi dans… ?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64B3988-DB73-5A36-57CC-8242BB4DDE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915225" y="6031316"/>
            <a:ext cx="6051114" cy="1527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4 :  C’est quel jour, aujourd’hui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5 :  Tu fais quoi en classe ?</a:t>
            </a:r>
          </a:p>
          <a:p>
            <a:pPr marL="531840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75000"/>
                  </a:schemeClr>
                </a:solidFill>
                <a:latin typeface="Dosis" pitchFamily="2" charset="0"/>
              </a:rPr>
              <a:t>Semaine 6 :  Révision et évaluation 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3B8EEA35-906C-F5B1-42FC-BFFBD1ED65A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9538" y="1609842"/>
            <a:ext cx="12954000" cy="12599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spcAft>
                <a:spcPts val="1800"/>
              </a:spcAft>
              <a:defRPr/>
            </a:pPr>
            <a:r>
              <a:rPr lang="fr-FR" sz="3300" b="1" dirty="0">
                <a:solidFill>
                  <a:srgbClr val="106585"/>
                </a:solidFill>
                <a:latin typeface="Dosis" pitchFamily="2" charset="0"/>
              </a:rPr>
              <a:t>Programmation thématique de la période 2 </a:t>
            </a:r>
          </a:p>
          <a:p>
            <a:pPr algn="ctr" defTabSz="685835">
              <a:lnSpc>
                <a:spcPts val="4199"/>
              </a:lnSpc>
              <a:defRPr/>
            </a:pPr>
            <a:r>
              <a:rPr lang="fr-FR" sz="3000" b="1" dirty="0">
                <a:solidFill>
                  <a:schemeClr val="accent1"/>
                </a:solidFill>
                <a:latin typeface="Dosis" pitchFamily="2" charset="0"/>
              </a:rPr>
              <a:t>Thème : « Ma classe »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40D96284-86EB-E4B0-178E-351340DA94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75748" y="3582463"/>
            <a:ext cx="12954000" cy="4818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b="1" dirty="0">
                <a:solidFill>
                  <a:schemeClr val="accent1"/>
                </a:solidFill>
                <a:latin typeface="Dosis" pitchFamily="2" charset="0"/>
              </a:rPr>
              <a:t>Sous-thèmes : </a:t>
            </a:r>
          </a:p>
        </p:txBody>
      </p:sp>
    </p:spTree>
    <p:extLst>
      <p:ext uri="{BB962C8B-B14F-4D97-AF65-F5344CB8AC3E}">
        <p14:creationId xmlns:p14="http://schemas.microsoft.com/office/powerpoint/2010/main" val="1926220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356E9-2DD3-2CAF-FE5E-788FEF4BF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5CA1DC7-0F89-BB7D-4856-C9A0451271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41A55F0-50AB-8A73-84FB-C8B71F70147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3266" y="4159577"/>
            <a:ext cx="12769469" cy="9791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6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Programme de la semaine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5D01213-5235-E4EE-5DDD-00C1129E94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037C1E40-66EF-1C75-CFA0-1BF7F13110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23C687E-9055-5979-2EEC-7B7FBE1E5C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653238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26EA7-462D-C43A-9F07-ED4E12358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54917E2-7B11-EB88-0AF5-5F10224C35E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1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0591482F-C33D-2BF2-A6E4-D76C48BF1DE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79174"/>
            <a:ext cx="12954000" cy="889137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B13234C7-1B92-8C5D-0939-3A437A86C193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ctr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2ACC2D9-6F4B-148B-BA4E-64A92990B16A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9802089F-EB4B-1103-F7FA-08E30DBF0C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1221" y="215597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9F1370A-3C49-0AA2-BC0F-7ECBE75888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1000" y="1202789"/>
            <a:ext cx="129540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de la semain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6FBDA94-9A55-AA4A-70CC-B30F4794DF1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68946" y="2660253"/>
            <a:ext cx="5405315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srgbClr val="106584"/>
              </a:solidFill>
              <a:latin typeface="Calibri"/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157D1591-2A7A-F913-EF24-F44780F10E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727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5958A974-6352-CF26-B135-C4EBE8F331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9307" y="2356206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1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CF6F5EDA-2010-DE82-6861-37413D6195E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7076" y="2964116"/>
            <a:ext cx="518160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Vocabulair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oute active du dialogue</a:t>
            </a: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E2D54C8-A8D0-C0DF-587F-8E92B28B77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308" y="5154814"/>
            <a:ext cx="5398229" cy="1549301"/>
          </a:xfrm>
          <a:prstGeom prst="roundRect">
            <a:avLst/>
          </a:prstGeom>
          <a:solidFill>
            <a:srgbClr val="FDEADA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94367586-0F7C-1D58-72E0-A907A2E220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79306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8D8F739-8705-558E-14F2-0F607342DC9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307" y="4907267"/>
            <a:ext cx="2076215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2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CB3056E3-C8B9-F253-13FB-F0E94E45DF4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27076" y="5329862"/>
            <a:ext cx="5138603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rgbClr val="106584"/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rgbClr val="106584"/>
                </a:solidFill>
                <a:latin typeface="Dosis" pitchFamily="2" charset="0"/>
              </a:rPr>
              <a:t>Acte de parole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rgbClr val="106584"/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rgbClr val="106584"/>
              </a:solidFill>
              <a:latin typeface="Dosis" pitchFamily="2" charset="0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EF6A7BB9-02C4-E499-7C22-CA0AA5E033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79307" y="7428083"/>
            <a:ext cx="5421092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E7088AB2-F340-6AC3-995E-379617155FD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67270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E2A56A2D-497F-BE0F-2034-E12FBD7B19DB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98516" y="7578776"/>
            <a:ext cx="4462598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MA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6C494A8F-181A-DF4D-982C-B5CD87D0C1B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118982" y="2660253"/>
            <a:ext cx="5521239" cy="1829709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4D02EE39-3D3F-9C7E-7746-40970F43C9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118982" y="2281627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17921F4B-54C5-AAF9-9E82-E046EB86A5C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8982" y="235700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4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817AEF75-A9F9-AF27-32AF-70479EF7BFB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322351" y="2959118"/>
            <a:ext cx="5054430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Lecture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10D6DB2F-D74E-757C-5150-9C07C41D165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164437" y="5154814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B42C1C5E-E1D5-BCEE-2E40-496805D8A2F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118982" y="4835299"/>
            <a:ext cx="2088249" cy="538610"/>
          </a:xfrm>
          <a:prstGeom prst="roundRect">
            <a:avLst>
              <a:gd name="adj" fmla="val 32324"/>
            </a:avLst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B1661B79-F159-C036-4A43-4881CC26DF20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118982" y="4907267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5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0BE592F4-404B-9350-A1A3-1943A53CEB8F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7382420" y="5333666"/>
            <a:ext cx="4994361" cy="141740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ituels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Appropriation de l'acte de parole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Écriture</a:t>
            </a:r>
            <a:endParaRPr lang="fr-MA" sz="2400" b="1" dirty="0">
              <a:solidFill>
                <a:schemeClr val="bg1">
                  <a:lumMod val="65000"/>
                </a:schemeClr>
              </a:solidFill>
              <a:latin typeface="Dosis" pitchFamily="2" charset="0"/>
            </a:endParaRPr>
          </a:p>
        </p:txBody>
      </p: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49A775F8-78C6-3BB4-2D21-01DE5AF2AD5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7164437" y="7428082"/>
            <a:ext cx="5521239" cy="1549301"/>
          </a:xfrm>
          <a:prstGeom prst="round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589764F6-37CA-963E-2EED-E12AD846861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118982" y="7095290"/>
            <a:ext cx="2088249" cy="538610"/>
          </a:xfrm>
          <a:prstGeom prst="roundRect">
            <a:avLst>
              <a:gd name="adj" fmla="val 3232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8" name="TextBox 10">
            <a:extLst>
              <a:ext uri="{FF2B5EF4-FFF2-40B4-BE49-F238E27FC236}">
                <a16:creationId xmlns:a16="http://schemas.microsoft.com/office/drawing/2014/main" id="{361575BF-65D0-716D-E24F-6310280C6CF2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118982" y="7157231"/>
            <a:ext cx="2088249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3026"/>
              </a:lnSpc>
              <a:defRPr/>
            </a:pP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6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E1162664-CD36-5CA8-4EBB-D33ACFA7041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382420" y="8021069"/>
            <a:ext cx="4616907" cy="395853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</a:rPr>
              <a:t>Révision de la semai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7CCAA73-75BC-153F-62F2-C117C5FF911F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794004" y="103890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6F5DDA-3373-F94C-6266-5693F1D011A1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79306" y="7182768"/>
            <a:ext cx="2076213" cy="39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3026"/>
              </a:lnSpc>
              <a:defRPr/>
            </a:pPr>
            <a:r>
              <a:rPr lang="en-US" sz="2801" dirty="0">
                <a:solidFill>
                  <a:srgbClr val="8DC63F"/>
                </a:solidFill>
                <a:latin typeface="Dosis" pitchFamily="2" charset="0"/>
              </a:rPr>
              <a:t>   </a:t>
            </a:r>
            <a:r>
              <a:rPr lang="en-US" sz="2801" b="1" dirty="0">
                <a:solidFill>
                  <a:prstClr val="white"/>
                </a:solidFill>
                <a:latin typeface="Dosis" pitchFamily="2" charset="0"/>
              </a:rPr>
              <a:t>Séance 3</a:t>
            </a:r>
            <a:r>
              <a:rPr lang="en-US" sz="3200" b="1" dirty="0">
                <a:solidFill>
                  <a:prstClr val="white"/>
                </a:solidFill>
                <a:latin typeface="Dosis" pitchFamily="2" charset="0"/>
              </a:rPr>
              <a:t>    </a:t>
            </a:r>
            <a:endParaRPr lang="fr-FR" sz="3200" b="1" dirty="0">
              <a:solidFill>
                <a:prstClr val="white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63251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2D792-9661-6DE2-F93A-CE24F247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B37AE72-DC16-3C78-995C-4740D41AEB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189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4291967E-5785-70E4-C0C7-61B2213E227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58002"/>
            <a:ext cx="12954000" cy="8875604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5846EB5E-0791-9E8A-8414-9D2BA4FB24EE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54538ACF-B9E6-7444-3F8C-7FA6C4BFC867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2F5C805-999C-9E73-E861-0A7A637618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5454" y="246774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0DA22D1-6F2D-80F8-E798-214474E162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50689" y="109221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74FF86-0289-553A-32AE-8779741EB2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001" y="1631585"/>
            <a:ext cx="12954000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tenus de la semaine 1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6C0E7951-B759-E3E2-255C-145C67B38D44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994320" y="2939189"/>
            <a:ext cx="3779848" cy="53649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B0FAD07-4923-211A-176C-DDEFA598B81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4968076" y="2947269"/>
            <a:ext cx="3779848" cy="53573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1ECA88E5-642C-F906-CEC9-1B828851091E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8950689" y="2947269"/>
            <a:ext cx="3779848" cy="53573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752267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3607C-46CE-B412-9374-10EDE2E67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EF6C34B-343B-5FE9-418E-502C8F28BAE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8125F813-5C32-E481-CDFA-D7C9840234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5630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Révision des lettr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C’est quoi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C’est /Ce n’est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econnaître la lettre l en minuscule et en majuscule.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Lire la lettre l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4EE29260-58D4-CD76-984F-6EC678B29B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CFF5CB8B-3D1A-4336-0186-2679B0616C2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1A94D9E-C903-BDB3-757C-F19CB4192D4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3021680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8D4B78C5-36D0-DFAD-C71A-4ED4A898EF6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2</a:t>
            </a:r>
          </a:p>
        </p:txBody>
      </p:sp>
    </p:spTree>
    <p:extLst>
      <p:ext uri="{BB962C8B-B14F-4D97-AF65-F5344CB8AC3E}">
        <p14:creationId xmlns:p14="http://schemas.microsoft.com/office/powerpoint/2010/main" val="1330511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42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00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5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971621" y="2167870"/>
            <a:ext cx="5029200" cy="497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relia"/>
                <a:ea typeface="+mn-ea"/>
                <a:cs typeface="+mn-cs"/>
              </a:rPr>
              <a:t>Objectifs des rituels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C1D261BA-3ABE-2DE1-E789-F4046D0C83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0800000" flipH="1">
            <a:off x="1381346" y="3736257"/>
            <a:ext cx="11115454" cy="3304116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95C32B6-3F71-2033-BA88-FCA970C59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15091" y="3825285"/>
            <a:ext cx="706508" cy="3166298"/>
          </a:xfrm>
          <a:custGeom>
            <a:avLst/>
            <a:gdLst/>
            <a:ahLst/>
            <a:cxnLst/>
            <a:rect l="l" t="t" r="r" b="b"/>
            <a:pathLst>
              <a:path w="3062465" h="1213150">
                <a:moveTo>
                  <a:pt x="0" y="0"/>
                </a:moveTo>
                <a:lnTo>
                  <a:pt x="3062465" y="0"/>
                </a:lnTo>
                <a:lnTo>
                  <a:pt x="3062465" y="1213150"/>
                </a:lnTo>
                <a:lnTo>
                  <a:pt x="0" y="1213150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 l="-109199" t="-6937" r="-896458" b="-829367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6236" y="441300"/>
            <a:ext cx="6643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44E5172-1FEC-C726-0EF2-92DE9D6F9BD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702599" y="5749003"/>
            <a:ext cx="570998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er des mots du vocabulaire.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6CF2F32-CD60-B83B-E47B-2BBFF6B8E01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788925" y="5653523"/>
            <a:ext cx="504425" cy="549067"/>
          </a:xfrm>
          <a:prstGeom prst="rect">
            <a:avLst/>
          </a:prstGeom>
        </p:spPr>
      </p:pic>
      <p:sp>
        <p:nvSpPr>
          <p:cNvPr id="10" name="TextBox 10">
            <a:extLst>
              <a:ext uri="{FF2B5EF4-FFF2-40B4-BE49-F238E27FC236}">
                <a16:creationId xmlns:a16="http://schemas.microsoft.com/office/drawing/2014/main" id="{EF196A93-E68D-1372-8AE7-C3B1CFBDEE2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702599" y="4800541"/>
            <a:ext cx="5709984" cy="425648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ts val="3026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viser des lettres étudiées. 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2C75F036-BA9D-7899-1EE8-CECE1BF402A2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788925" y="4705061"/>
            <a:ext cx="504425" cy="54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255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2BF15-BB8E-989A-E985-B85960309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EF208EB-CBC0-D417-8786-FCDD4B590EA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09CB912-DCEA-98D8-0632-D26B863802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71B6C95-808C-274D-88CD-53626543F258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67803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6AC0830-E62D-97D2-A32A-6FDEE5945A34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469B0D59-FCFA-73A1-A5F7-BB29DECD18D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BBD8E0A-9302-BA3F-35EF-51D7975A006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E013A098-CA5F-A92B-10C3-E6DD7614B986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6D0B8788-CC1A-A112-6526-1B40637EC622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DEA6562E-F05C-00F7-13C2-2F5E359BE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41786" y="779888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9926730-19A1-3596-B730-AE339E499EB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74975" y="687484"/>
            <a:ext cx="12076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njour les enfants. Nous allons commencer une nouvelle leçon de français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E388BA8-E9EE-DE41-DCA3-773498CEA85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4466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8252A3-5679-18F9-D7E9-933597243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01A3A5BA-98A0-BB4F-5B4D-54BC7FAD781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57062" y="77354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2">
            <a:extLst>
              <a:ext uri="{FF2B5EF4-FFF2-40B4-BE49-F238E27FC236}">
                <a16:creationId xmlns:a16="http://schemas.microsoft.com/office/drawing/2014/main" id="{4BB3096F-7673-6BFF-2D74-05AD8519ED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9542" y="716394"/>
            <a:ext cx="11529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servez bien. C’est la lettre i.</a:t>
            </a:r>
          </a:p>
        </p:txBody>
      </p:sp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4D84F29A-7D72-F795-A109-826014325E9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72472" y="545263"/>
            <a:ext cx="1250264" cy="1512774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BB40B2F8-F00F-B750-6514-E90EA4D48E5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63A8B8EF-0486-54D8-EE4D-CE3B7620024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3258368"/>
            <a:ext cx="12973049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39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</a:t>
            </a:r>
            <a:r>
              <a:rPr kumimoji="0" lang="fr-MA" sz="23900" b="0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endParaRPr kumimoji="0" lang="fr-MA" sz="23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667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8380" y="3592489"/>
            <a:ext cx="12799240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spcAft>
                <a:spcPts val="1800"/>
              </a:spcAft>
              <a:defRPr/>
            </a:pPr>
            <a:r>
              <a:rPr lang="fr-FR" sz="5400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fr-FR" sz="4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Ce support est optimisé pour un visionnage en mode diaporama sur un écran d’ordinateur. </a:t>
            </a:r>
            <a:endParaRPr lang="ar-MA" sz="54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9A77FA-585D-127F-845B-8EBC71313FA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7748" y="1237915"/>
            <a:ext cx="2360504" cy="205878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FA3FF9E-96AB-CA64-0E5A-B49A3A31BB7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/>
          <a:srcRect t="3549" r="25825"/>
          <a:stretch/>
        </p:blipFill>
        <p:spPr>
          <a:xfrm>
            <a:off x="2569153" y="5661395"/>
            <a:ext cx="8969576" cy="1454457"/>
          </a:xfrm>
          <a:prstGeom prst="roundRect">
            <a:avLst/>
          </a:prstGeom>
          <a:ln>
            <a:solidFill>
              <a:schemeClr val="accent5">
                <a:lumMod val="50000"/>
              </a:schemeClr>
            </a:solidFill>
          </a:ln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31DAD90C-01DC-919D-FDFB-9AC4E69530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73218" y="5739229"/>
            <a:ext cx="1363695" cy="129878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050" dirty="0"/>
          </a:p>
        </p:txBody>
      </p:sp>
    </p:spTree>
    <p:extLst>
      <p:ext uri="{BB962C8B-B14F-4D97-AF65-F5344CB8AC3E}">
        <p14:creationId xmlns:p14="http://schemas.microsoft.com/office/powerpoint/2010/main" val="26029975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FE8049-5033-D1AE-50FE-3CEB4EF2C3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8">
            <a:extLst>
              <a:ext uri="{FF2B5EF4-FFF2-40B4-BE49-F238E27FC236}">
                <a16:creationId xmlns:a16="http://schemas.microsoft.com/office/drawing/2014/main" id="{5F535EE7-1904-E12B-7AF8-DB8E119529A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57062" y="77354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2">
            <a:extLst>
              <a:ext uri="{FF2B5EF4-FFF2-40B4-BE49-F238E27FC236}">
                <a16:creationId xmlns:a16="http://schemas.microsoft.com/office/drawing/2014/main" id="{CE625457-CC88-C482-6411-EC59DC889B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9542" y="716394"/>
            <a:ext cx="11529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servez bien. C’est la lettre u.</a:t>
            </a:r>
          </a:p>
        </p:txBody>
      </p:sp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E9B19D76-D731-5043-20B9-DF5C4B618BC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72472" y="545263"/>
            <a:ext cx="1250264" cy="1512774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3C812351-58E9-DE57-98FB-DDEB9DC317C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BBBE8DCD-9502-81DE-BEF5-9AD41DD9657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5" y="3258368"/>
            <a:ext cx="12973049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39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</a:t>
            </a:r>
            <a:r>
              <a:rPr kumimoji="0" lang="fr-MA" sz="23900" b="0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endParaRPr kumimoji="0" lang="fr-MA" sz="23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03400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63EB4A4-3A46-952B-7425-A46965B3E72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0" y="1485901"/>
            <a:ext cx="13030201" cy="7179961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F5D87277-E5EA-C0A4-8119-DDB47AEE16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0979" y="802046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20698" y="593647"/>
            <a:ext cx="10723654" cy="546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enez vos ardoises et écrivez 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« 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i »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5159D94-A626-2CE2-DE46-4CACB11C5F1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57974" y="2842863"/>
            <a:ext cx="7186176" cy="5555891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9F9451A-C328-68B1-01A7-EF1B84CCF24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75020" y="720508"/>
            <a:ext cx="1938664" cy="1074576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A9397E9F-1F6C-A08A-675B-08B12E09445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3879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78F089-889B-87B6-0591-F191D3929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843A89D7-053F-03D1-408B-C62601A628B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F6F31AA-D977-8209-1045-ED74E7F93E9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4D27285-988E-2EF8-885E-8ACBC7D1BB6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529BB99A-6A9F-00DE-A9FF-E6F0C6FE1EED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C7453B1F-2478-3590-2C72-F0C1A1F07249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CA6B0082-8F6D-4DF7-8826-C417E9BA43AC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C28123A8-346C-D79E-0F4F-D7ED369ED4E7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D4DC20-95C4-8F8C-65A3-E06F8D2E968E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A7D2E1EB-858E-624C-2EC8-85E65843AF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85A5FFF-67CC-9194-C423-276684496A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953CD38-042A-AF75-E4CB-57ECC495590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975AA039-4B23-AAC1-698D-19799EEC298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42638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E90529-2832-6D13-61EE-4DD4FCB31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393AC690-D169-6D2A-6558-04578EC9141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0" y="1485901"/>
            <a:ext cx="13030201" cy="7179961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332544AD-299F-858D-6169-FCE8AE1F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0979" y="802046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3864E135-C802-43D0-D2C6-87EFFE217EE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20698" y="593647"/>
            <a:ext cx="10723654" cy="546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Écrivez la lettre u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4B89177-506F-74BB-2D43-BFA8ED98EAF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57974" y="2842863"/>
            <a:ext cx="7186176" cy="5555891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43ED2BD-955A-5C52-1D12-E45EB51F3FC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75020" y="720508"/>
            <a:ext cx="1938664" cy="1074576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09D229E4-3347-971B-3F6B-445BC41D129E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48704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791DDE-782C-2DD0-3F36-415C64629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0917ED0E-A022-57A5-6E32-19EB7F9477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AEA4976-3693-FC75-EC74-801499D646C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3AD4E8C-8D8F-DF48-B89C-AA5AEF105207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CC519177-10B5-AF31-5077-FF3C4B8DAB2A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8F8D6BBB-361B-4746-6E39-0DE74FB554C6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2945713-395C-9B71-E3CF-EB44CAC0C17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A81586FD-6F02-F449-765E-E81FB7162F9D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228A795-C878-1F59-DDD0-EECB05613268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5956850F-C5ED-C414-4D6D-5F6CF47FA4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07451" y="85858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BE2B53D-1A85-E919-963B-20003522D84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01074" y="764132"/>
            <a:ext cx="960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z les ardoise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BFBFBD6-CD3C-5DDA-839B-E6C6D81536A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3939605" y="2961707"/>
            <a:ext cx="6089298" cy="4363587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2A4D5856-1510-BB0C-9D49-08CA0E3215C6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90396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E91151-5608-0DD3-EDD0-78F3783AE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F7227F-C166-49B7-5CCF-50E4DE35603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98CE850F-80D8-5170-9991-58101636DEB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231E4BB-B415-AA4F-5653-F0B4155B7394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564976E0-2EF2-771C-6762-9495354083F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9649BDC0-AFB0-B471-0AAE-348E3970C23E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A23DBB1A-2755-4FD1-EFEC-FC5B4A1B6838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3BFE824E-4733-1045-6D7D-F85D4520FF14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6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D2253FE-BF29-BD45-C945-40D8264E33F7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E2ADF66C-C38F-EC65-DFC3-2A127500FA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65911" y="676406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396472CF-F39C-3031-FF9E-711346E4210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7" name="ZoneTexte 26">
            <a:extLst>
              <a:ext uri="{FF2B5EF4-FFF2-40B4-BE49-F238E27FC236}">
                <a16:creationId xmlns:a16="http://schemas.microsoft.com/office/drawing/2014/main" id="{F6452AD8-FD8D-A830-1961-7FDA3705A9B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473641" y="589043"/>
            <a:ext cx="100448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us avons vu ces mots la séance précédente.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 </a:t>
            </a:r>
          </a:p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l est ce mot ?  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A86523FA-9E98-1815-5C13-F152348CA4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B977278-87CF-D469-60BC-9C68C841633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3585527" y="3976761"/>
            <a:ext cx="1362703" cy="2638112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41E07ABE-8576-2378-8698-F2652E6C40D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8876751" y="4659361"/>
            <a:ext cx="1576724" cy="15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9494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31F63-E693-FC5E-0DF9-875623507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CB01776C-C876-8166-BE99-D62DC41F50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768866" y="85321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5EC3415-D08E-9718-CF35-528745A3171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92328" y="771385"/>
            <a:ext cx="1188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e vais dire les mots. Répétez après moi. 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7AA1FA7-1AFA-DAF9-E766-5B558206505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88093" y="529841"/>
            <a:ext cx="1530246" cy="1284596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C51837CD-9190-45D6-A48F-E2B9AE2B1D5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DEF4F8A6-9666-A0D6-B5B5-46BCCE1F6E3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968461" y="5758210"/>
            <a:ext cx="43820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e port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55C7679-F6AD-7D8F-13CE-817E3736AF1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686558" y="5757623"/>
            <a:ext cx="55851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e fenêtre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28B5116-5D8E-3135-7043-AAFDC22E48E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424026" y="2976636"/>
            <a:ext cx="1362703" cy="2638112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A96D89EE-D530-B70C-3371-6AC13439F5E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8715250" y="3659236"/>
            <a:ext cx="1576724" cy="15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1907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49EBF-02E7-DF35-C8D5-D69727A04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55A9E35D-598B-2412-5921-A19D1976CD2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A92671D-ECD8-96EC-A86E-94F4CCF99BA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5630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es lettr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C’est quoi ?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C’est /Ce n’est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  <a:endParaRPr lang="fr-FR" sz="4200" b="1" dirty="0">
              <a:solidFill>
                <a:schemeClr val="bg1">
                  <a:lumMod val="65000"/>
                </a:schemeClr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econnaître la lettre l en minuscule et en majuscule.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Lire la lettre l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65A2F269-8203-AE2A-2593-DD963AF166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23EFBED-2F38-6CF5-0E88-370C2E0786A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83439FE-AC15-5FD8-D1B6-4B9C89ECCE8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476476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3855B124-D0A7-4F85-61DC-C9828EBEBB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2</a:t>
            </a:r>
          </a:p>
        </p:txBody>
      </p:sp>
    </p:spTree>
    <p:extLst>
      <p:ext uri="{BB962C8B-B14F-4D97-AF65-F5344CB8AC3E}">
        <p14:creationId xmlns:p14="http://schemas.microsoft.com/office/powerpoint/2010/main" val="21496695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4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733455"/>
            <a:ext cx="12954000" cy="8765811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6222" y="13625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4747428" y="1822448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3200" dirty="0">
                <a:solidFill>
                  <a:srgbClr val="106585"/>
                </a:solidFill>
                <a:latin typeface="Carelia"/>
              </a:rPr>
              <a:t>Objectifs de l’activité 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7C03ED0A-C5B0-D998-5D5C-0C9D119281B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1638" y="3335592"/>
            <a:ext cx="11752727" cy="4200876"/>
            <a:chOff x="1021947" y="3100970"/>
            <a:chExt cx="11752727" cy="3654320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C1D261BA-3ABE-2DE1-E789-F4046D0C8328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95C32B6-3F71-2033-BA88-FCA970C59DCF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19" name="Image 18">
            <a:extLst>
              <a:ext uri="{FF2B5EF4-FFF2-40B4-BE49-F238E27FC236}">
                <a16:creationId xmlns:a16="http://schemas.microsoft.com/office/drawing/2014/main" id="{CCC5F9BE-BCEA-3D50-20D4-F48CE3775C7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480252" y="3990665"/>
            <a:ext cx="504425" cy="549068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49151" y="33334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Dosi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07530" y="4010714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S’approprier l’acte de parole :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6D1AA5F5-9721-BDFB-5D84-C9B03241E66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979022" y="4670448"/>
            <a:ext cx="8678662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C’est quoi ?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7C75934-EA09-FAF7-A0F8-3A93E9B0AD9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525597" y="5880388"/>
            <a:ext cx="504425" cy="549068"/>
          </a:xfrm>
          <a:prstGeom prst="rect">
            <a:avLst/>
          </a:prstGeom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940A627E-03E1-78D4-52F2-DAEFE422D83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52875" y="5914725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Utiliser des outils de langue : </a:t>
            </a:r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2DA6B2EC-A123-8022-FC7A-ECF86040222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979022" y="6548500"/>
            <a:ext cx="8443805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90">
              <a:defRPr/>
            </a:pPr>
            <a:r>
              <a:rPr lang="fr-FR" sz="3200" b="1" kern="100" dirty="0">
                <a:solidFill>
                  <a:srgbClr val="106585"/>
                </a:solidFill>
                <a:latin typeface="Dosis" pitchFamily="2" charset="0"/>
                <a:cs typeface="Arial" panose="020B0604020202020204" pitchFamily="34" charset="0"/>
              </a:rPr>
              <a:t>C’est /Ce n’est pas … .</a:t>
            </a:r>
          </a:p>
        </p:txBody>
      </p:sp>
    </p:spTree>
    <p:extLst>
      <p:ext uri="{BB962C8B-B14F-4D97-AF65-F5344CB8AC3E}">
        <p14:creationId xmlns:p14="http://schemas.microsoft.com/office/powerpoint/2010/main" val="16431639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7090A0-7D28-47D0-1F6A-F1A39FB74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FA31FF5-C238-7475-BC79-76F7A218C2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3AFA753-72CA-A6C7-66D8-E77E01387C5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C15B48-76C1-A575-2ABA-FB0346CDA36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20B30047-A737-2A1A-EA43-9D116ED4ACB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EA3F7DD1-8DED-332C-1DC9-E1FC0BB1CF3F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2F8979D-0E93-36C0-25C6-3EF542CABB66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C85368F-2B3B-F547-D27F-932F6F927D6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064A59E-82F4-40B8-DC7C-C2F5E6033F01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FB101090-FFFF-110A-367C-B3258319D3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F862B41-83E7-A96B-363F-062037AA719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98559" y="543874"/>
            <a:ext cx="1427019" cy="1575467"/>
          </a:xfrm>
          <a:prstGeom prst="rect">
            <a:avLst/>
          </a:prstGeom>
        </p:spPr>
      </p:pic>
      <p:pic>
        <p:nvPicPr>
          <p:cNvPr id="12" name="Image 11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049EC1EF-3605-645B-E8B8-3BFB4248614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41307" y="3540171"/>
            <a:ext cx="3357580" cy="56795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DD43DE0-764A-DDE1-1DD9-CB519E93E7A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/>
          <a:stretch>
            <a:fillRect/>
          </a:stretch>
        </p:blipFill>
        <p:spPr>
          <a:xfrm flipH="1">
            <a:off x="6857982" y="4203739"/>
            <a:ext cx="3657617" cy="466347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2E21719-7314-20EB-019B-2CF23B56296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371600" y="636631"/>
            <a:ext cx="12409713" cy="558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45" rtl="0" eaLnBrk="1" fontAlgn="auto" latinLnBrk="0" hangingPunct="1">
              <a:lnSpc>
                <a:spcPts val="4022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Nous allons réécouter le dialogue entre Karim et Rita. 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F78C043C-12B3-BD6D-9C88-EF36185D4557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721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590B-F6CF-70CD-6E72-F5ABDBC90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D57E4082-F9D7-0AF5-296D-96E1BB8E53E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1B37076-2361-6711-89A3-907EE4DD21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5802" y="4168131"/>
            <a:ext cx="12769469" cy="1051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72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            Orientations générales</a:t>
            </a:r>
            <a:endParaRPr lang="ar-MA" sz="72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940B444-C795-AF51-E15B-D70F755F0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BD3357F-7577-9817-B590-13AEBCBCE0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2901C97-7D2E-EE20-D308-59045434F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32901161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55901C-AAD3-DC62-8376-D73CDD5D3E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36E38BEE-EA00-1677-1ACF-5417705EBC5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68E5D35-7F6C-A554-C7A7-70C0C98D172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5FBBF68-FF4F-16AE-5F3F-9C4E22E9895C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68D1157E-BCDB-2645-97DC-17C3EAB8DBA0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AE188BD-8078-9EE1-9BD2-1C9CC6C4ACF2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6E50444F-EC3C-5980-6110-41DB3A87FB29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882BC4F2-3F92-25BB-E453-E40FB52368BD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A931702-0907-ABB6-8A66-DAD615C7662A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398AAA0C-9EC4-7445-FEA0-3365B8E05DB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Premièr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4F52308-1316-BBD6-0FD0-1DA6D4F42AC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62C16217-79E8-D669-FFC3-A5B86C29518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F7BEFAE7-9CFA-5C21-D4B4-EE0959401E8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01554899-1C20-FB22-C506-A65C7796E14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F3372A1B-7AA2-1542-CB53-8EDA1732DCB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arcours_1_S7_s1_Dialogue">
            <a:hlinkClick r:id="" action="ppaction://media"/>
            <a:extLst>
              <a:ext uri="{FF2B5EF4-FFF2-40B4-BE49-F238E27FC236}">
                <a16:creationId xmlns:a16="http://schemas.microsoft.com/office/drawing/2014/main" id="{7C363908-2F14-F979-3514-C4F8DBD4AC2C}"/>
              </a:ext>
            </a:extLst>
          </p:cNvPr>
          <p:cNvPicPr>
            <a:picLocks noChangeAspect="1"/>
          </p:cNvPicPr>
          <p:nvPr>
            <a:audioFile r:link="rId10"/>
            <p:custDataLst>
              <p:tags r:id="rId11"/>
            </p:custDataLst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729788" y="719970"/>
            <a:ext cx="611764" cy="611764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45413674-5162-252F-807F-C362E9382589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0678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592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2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2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1" dur="2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4" dur="2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2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7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20" dur="3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3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23" dur="5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5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1411D-AB82-CD69-C19B-64D5996D9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6E08C70-B353-4F1F-1116-B258C0FB4A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B12CBCC-4844-A2FE-8F59-6519CC2E3C3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1C1B0D0-9CE2-FD84-FE3A-E886E06A52B6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5CA2F3C-2733-5181-9207-C0A1659840BB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E28CF3B-86F1-684B-B385-11E508F9C4A0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7004358B-0C52-BD46-7078-1F19101DB9A0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BA498E2-3ECF-694D-15D6-5772676A9564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71B49946-561D-B446-727B-F40E06CA7B7A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0F08B29D-CBF2-D3A4-2118-B69C6D7A2D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316A457-0875-5003-0735-2C503C88F4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2" y="736196"/>
            <a:ext cx="109052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Je vais diffuser le dialogue une deuxième fois. Écoutez attentivement. </a:t>
            </a:r>
          </a:p>
        </p:txBody>
      </p:sp>
      <p:pic>
        <p:nvPicPr>
          <p:cNvPr id="13" name="Image 12" descr="Une image contenant clipart, dessin, illustration, dessin humoristique&#10;&#10;Description générée automatiquement">
            <a:extLst>
              <a:ext uri="{FF2B5EF4-FFF2-40B4-BE49-F238E27FC236}">
                <a16:creationId xmlns:a16="http://schemas.microsoft.com/office/drawing/2014/main" id="{BF74A406-552F-902E-71AD-3F309E37B3A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82" y="2965052"/>
            <a:ext cx="4368191" cy="4356896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EF74FAF-1DF7-49B9-CFF0-3D9ECB64194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34850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55901C-AAD3-DC62-8376-D73CDD5D3E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36E38BEE-EA00-1677-1ACF-5417705EBC5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68E5D35-7F6C-A554-C7A7-70C0C98D172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5FBBF68-FF4F-16AE-5F3F-9C4E22E9895C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68D1157E-BCDB-2645-97DC-17C3EAB8DBA0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AE188BD-8078-9EE1-9BD2-1C9CC6C4ACF2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6E50444F-EC3C-5980-6110-41DB3A87FB29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882BC4F2-3F92-25BB-E453-E40FB52368BD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A931702-0907-ABB6-8A66-DAD615C7662A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398AAA0C-9EC4-7445-FEA0-3365B8E05DB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677" y="749000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Deuxième écoute (diffusion automatique)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4F52308-1316-BBD6-0FD0-1DA6D4F42AC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14" name="Image 13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62C16217-79E8-D669-FFC3-A5B86C29518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2794" y="4422049"/>
            <a:ext cx="2988006" cy="505438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F7BEFAE7-9CFA-5C21-D4B4-EE0959401E8F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0"/>
          <a:stretch>
            <a:fillRect/>
          </a:stretch>
        </p:blipFill>
        <p:spPr>
          <a:xfrm flipH="1">
            <a:off x="7329468" y="4973777"/>
            <a:ext cx="3255017" cy="4150156"/>
          </a:xfrm>
          <a:prstGeom prst="rect">
            <a:avLst/>
          </a:prstGeom>
        </p:spPr>
      </p:pic>
      <p:sp>
        <p:nvSpPr>
          <p:cNvPr id="18" name="Bulle narrative : ronde 17">
            <a:extLst>
              <a:ext uri="{FF2B5EF4-FFF2-40B4-BE49-F238E27FC236}">
                <a16:creationId xmlns:a16="http://schemas.microsoft.com/office/drawing/2014/main" id="{01554899-1C20-FB22-C506-A65C7796E14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175638" y="2524792"/>
            <a:ext cx="2228282" cy="1569923"/>
          </a:xfrm>
          <a:prstGeom prst="wedgeEllipseCallout">
            <a:avLst>
              <a:gd name="adj1" fmla="val 41240"/>
              <a:gd name="adj2" fmla="val 746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F3372A1B-7AA2-1542-CB53-8EDA1732DCB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186118" y="2544527"/>
            <a:ext cx="2228282" cy="1569923"/>
          </a:xfrm>
          <a:prstGeom prst="wedgeEllipseCallout">
            <a:avLst>
              <a:gd name="adj1" fmla="val -43465"/>
              <a:gd name="adj2" fmla="val 6901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68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arcours_1_S7_s1_Dialogue">
            <a:hlinkClick r:id="" action="ppaction://media"/>
            <a:extLst>
              <a:ext uri="{FF2B5EF4-FFF2-40B4-BE49-F238E27FC236}">
                <a16:creationId xmlns:a16="http://schemas.microsoft.com/office/drawing/2014/main" id="{7C363908-2F14-F979-3514-C4F8DBD4AC2C}"/>
              </a:ext>
            </a:extLst>
          </p:cNvPr>
          <p:cNvPicPr>
            <a:picLocks noChangeAspect="1"/>
          </p:cNvPicPr>
          <p:nvPr>
            <a:audioFile r:link="rId10"/>
            <p:custDataLst>
              <p:tags r:id="rId11"/>
            </p:custDataLst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9729788" y="719970"/>
            <a:ext cx="611764" cy="611764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45413674-5162-252F-807F-C362E9382589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2010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592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mph" presetSubtype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2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9" dur="27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1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1" dur="2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1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4" dur="2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2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1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7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8" dur="2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1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20" dur="3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3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7" presetClass="emph" presetSubtype="1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23" dur="5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4" dur="5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F97326-6CA8-AEAA-400B-7917145CBD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7B18F22C-C3BD-9D26-ED62-4EB9E266749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93A0CB3-110B-B5CD-CD15-35ECD90264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Karim dit « C’est quoi ? » </a:t>
            </a:r>
          </a:p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éter ? 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0CD74AE-9F6F-2330-D044-420C6A6B7E6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FE7D859B-A2D5-1D77-89FC-20BF8AF17BC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447469" y="2285485"/>
            <a:ext cx="3950018" cy="1316860"/>
          </a:xfrm>
          <a:prstGeom prst="wedgeEllipseCallout">
            <a:avLst>
              <a:gd name="adj1" fmla="val 11726"/>
              <a:gd name="adj2" fmla="val 8193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90">
              <a:defRPr/>
            </a:pP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’est quoi ?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21B1BD31-C881-8BCD-6743-3ECCFAFCAAB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2685056" y="4641469"/>
            <a:ext cx="2987328" cy="3767868"/>
          </a:xfrm>
          <a:prstGeom prst="rect">
            <a:avLst/>
          </a:prstGeom>
        </p:spPr>
      </p:pic>
      <p:pic>
        <p:nvPicPr>
          <p:cNvPr id="6" name="Image 5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9864B76E-E95D-3841-848C-8DCF55AB81C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79" t="50000" r="26969" b="4086"/>
          <a:stretch/>
        </p:blipFill>
        <p:spPr>
          <a:xfrm flipH="1">
            <a:off x="5691348" y="4046369"/>
            <a:ext cx="2552540" cy="4451648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4E68C3D9-05BD-54E8-DEF0-5FDB4AB8A84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9112350" y="3761859"/>
            <a:ext cx="2311061" cy="4474077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2B40A52D-8F8F-A7D4-D0E7-5569A201B7F1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189804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0073CF-A0FF-3EE7-2863-948E90F3C6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97D37F38-44F1-C8DA-329A-0C7F7C2068C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664EAB0-A92E-A198-1A3F-9A03C0F923C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01CBC70-37F2-E7DF-FDF7-B419D7404B7F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ABD76269-0A0B-60AA-DD3D-73968AF7D7CC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75B1759-6FF8-7F16-0F79-7E7F8D5B344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36E37F3C-FE32-36A0-36CB-F3C615A6734B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BE514E4E-1915-1237-5744-8B42C91A2566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2D6B0CE-06BD-7320-8954-18293FE4184D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7792EF00-F4BD-C59F-615A-D44CAAE535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E91A13BC-86FA-CFB0-C738-6B5F5D85F5A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447469" y="2285485"/>
            <a:ext cx="3950018" cy="1316860"/>
          </a:xfrm>
          <a:prstGeom prst="wedgeEllipseCallout">
            <a:avLst>
              <a:gd name="adj1" fmla="val 11726"/>
              <a:gd name="adj2" fmla="val 8193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90">
              <a:defRPr/>
            </a:pP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’est quoi ?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1E67360B-0D94-12DF-67D0-8337DBA6A4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2685056" y="4641469"/>
            <a:ext cx="2987328" cy="3767868"/>
          </a:xfrm>
          <a:prstGeom prst="rect">
            <a:avLst/>
          </a:prstGeom>
        </p:spPr>
      </p:pic>
      <p:pic>
        <p:nvPicPr>
          <p:cNvPr id="6" name="Image 5" descr="Une image contenant chaussures, garçon, habits, personne&#10;&#10;Description générée automatiquement">
            <a:extLst>
              <a:ext uri="{FF2B5EF4-FFF2-40B4-BE49-F238E27FC236}">
                <a16:creationId xmlns:a16="http://schemas.microsoft.com/office/drawing/2014/main" id="{B2EE1168-1819-35CA-4566-98D9EC4A5D74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79" t="50000" r="26969" b="4086"/>
          <a:stretch/>
        </p:blipFill>
        <p:spPr>
          <a:xfrm flipH="1">
            <a:off x="5691348" y="4046369"/>
            <a:ext cx="2552540" cy="4451648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85C86D0B-91A9-74B5-1BED-C3B11E9A612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455984" y="697808"/>
            <a:ext cx="10001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e signifie « C’est quoi ?»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</a:rPr>
              <a:t>en arabe ? 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DFDE44F8-8A36-E799-311E-5C95A3859EF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11099197" y="574565"/>
            <a:ext cx="1828959" cy="1268078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6FDCAF5-7859-A776-0B40-A5D84DA25A2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9112350" y="3761859"/>
            <a:ext cx="2311061" cy="447407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BE25DBEA-FA25-7A12-127B-1A63685D40D1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19851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3730EA-CD15-9A0E-BE35-95D47268D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9B3188FA-D6A4-5975-1022-8A3ABDEA3DA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897A553-4FA8-7BA7-7B68-C0BFD705D47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AC4E15-1540-7D29-E91C-52DDA8FFACE5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8D079BE5-3F72-27A1-550D-818E4FA03551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370443B5-2423-16FA-92B2-BE1A5F98AE41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4DD71BC0-49D1-9B5C-5E55-CAED6598B76B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4B5A14-C4E5-7E01-A897-A5FA84EF7C7C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49437528-A0CA-8F3A-0211-711428C5C439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9CA4D3DE-AC87-C50E-7F65-371B8EAEAB6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40720" y="662501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45A9D4-2310-7B50-0B98-6DDE30D4A3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21546" y="546574"/>
            <a:ext cx="10001865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Rita dit « C’est une porte. ». </a:t>
            </a:r>
          </a:p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éter ?  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6C929804-FA2B-280B-BD00-9FE53FB8A62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49253" y="2114257"/>
            <a:ext cx="4823131" cy="1470468"/>
          </a:xfrm>
          <a:prstGeom prst="wedgeEllipseCallout">
            <a:avLst>
              <a:gd name="adj1" fmla="val 16395"/>
              <a:gd name="adj2" fmla="val 95749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90">
              <a:defRPr/>
            </a:pPr>
            <a:r>
              <a:rPr lang="fr-FR" sz="36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’est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e porte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001D892-B50C-8243-1D34-46C207D30E4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90106" y="431413"/>
            <a:ext cx="1224453" cy="1351829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CED30D4A-BBDB-C957-0888-09BC6E98138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5708" y="4556350"/>
            <a:ext cx="2296417" cy="3838699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EF44D6B-855D-68AC-2A89-C39444F317D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9112350" y="3761859"/>
            <a:ext cx="2311061" cy="4474077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5124978D-409E-5AFE-9601-638621248E16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3" name="Image 12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D0F6D635-4348-A412-A68F-D27C8A328525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618115" y="4186238"/>
            <a:ext cx="2727625" cy="4613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24166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E31B20-6258-6D25-861C-514046F02A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406A7D59-D267-0AB9-D5AB-0308B5E23F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9E9D3B52-4043-762C-B587-67BC7A0A3F5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1E59474-B07B-1AD5-7F4C-0E095C3F7F2F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94AA60BD-597C-55E5-C28D-5227F5F61A1D}"/>
                </a:ext>
              </a:extLst>
            </p:cNvPr>
            <p:cNvGrpSpPr/>
            <p:nvPr/>
          </p:nvGrpSpPr>
          <p:grpSpPr>
            <a:xfrm>
              <a:off x="228600" y="262182"/>
              <a:ext cx="8692119" cy="6351831"/>
              <a:chOff x="183903" y="180292"/>
              <a:chExt cx="8781569" cy="6513584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B0EF7D92-8014-0129-672D-9948196403C8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183903" y="193967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383D484-B367-1A02-A450-050CAC88B0C7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D4AA5AE2-B780-716D-A082-6A65BE9736D8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B918765E-3751-2EB6-ADEB-530104A18B67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7C7074B-E119-D5AC-1F4D-B02F2BD697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875158" y="813735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DAD657D-3CD6-8937-54C6-A95AB8A412A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55984" y="697808"/>
            <a:ext cx="10001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90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e signifie « C’est une porte. » 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</a:rPr>
              <a:t>en arabe ? 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9B4AB0E-7BA2-79B3-1D18-88C39C6FD57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11099197" y="574565"/>
            <a:ext cx="1828959" cy="1268078"/>
          </a:xfrm>
          <a:prstGeom prst="rect">
            <a:avLst/>
          </a:prstGeom>
        </p:spPr>
      </p:pic>
      <p:sp>
        <p:nvSpPr>
          <p:cNvPr id="13" name="Bulle narrative : ronde 12">
            <a:extLst>
              <a:ext uri="{FF2B5EF4-FFF2-40B4-BE49-F238E27FC236}">
                <a16:creationId xmlns:a16="http://schemas.microsoft.com/office/drawing/2014/main" id="{3A9B6780-CBA5-14DA-2FDA-3E2EB49AB61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49253" y="2114257"/>
            <a:ext cx="4823131" cy="1470468"/>
          </a:xfrm>
          <a:prstGeom prst="wedgeEllipseCallout">
            <a:avLst>
              <a:gd name="adj1" fmla="val 16395"/>
              <a:gd name="adj2" fmla="val 95749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90">
              <a:defRPr/>
            </a:pPr>
            <a:r>
              <a:rPr lang="fr-FR" sz="36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’est</a:t>
            </a:r>
            <a:r>
              <a:rPr lang="fr-FR" sz="3600" b="1" dirty="0">
                <a:solidFill>
                  <a:srgbClr val="215968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e porte.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205AFCEA-82F6-1D61-C242-3A0CEED991D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5708" y="4556350"/>
            <a:ext cx="2296417" cy="3838699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21C4DE5-A5A2-55EE-F2BD-181D0DD832A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9112350" y="3761859"/>
            <a:ext cx="2311061" cy="4474077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BEE840BE-526D-9EDB-243C-460DE9E54118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2" name="Image 11" descr="Une image contenant illustration, clipart, Animation, Dessin animé&#10;&#10;Description générée automatiquement">
            <a:extLst>
              <a:ext uri="{FF2B5EF4-FFF2-40B4-BE49-F238E27FC236}">
                <a16:creationId xmlns:a16="http://schemas.microsoft.com/office/drawing/2014/main" id="{EB4CD59A-FBD4-7A31-607C-FD2360C6B7EC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618115" y="4186238"/>
            <a:ext cx="2727625" cy="4613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9310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F626D-5665-BFE5-AD5B-CA712B3EC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D781BEEB-75F9-8D6F-FBAF-83803CBB47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987957" y="67575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87519C9-070E-3F1F-CF92-9776F8765A7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C’est quoi ? 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B93C3C5-2C07-307F-B3AF-C7BB5AB7ABA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2627E2C7-F3AB-EF10-2AD2-43AF0839F74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567546" y="5870"/>
          <a:ext cx="10121466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3822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373822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373822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411480"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 Vocabulai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           </a:t>
                      </a:r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Outils de langue</a:t>
                      </a:r>
                      <a:endParaRPr lang="fr-FR" sz="1800" dirty="0">
                        <a:solidFill>
                          <a:schemeClr val="bg1">
                            <a:lumMod val="6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2DEBF799-8F2B-874A-1312-B38504C06F3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472748" y="3625959"/>
            <a:ext cx="2493616" cy="482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6841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D49B35-D28B-5C2A-2DE4-D5A73148FC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395E9CD2-42C9-D8C6-755C-8746BF0BD7E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C1C27F79-291C-4C96-FEFC-40594410CFC7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567546" y="5870"/>
          <a:ext cx="10121466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3822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373822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373822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411480"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 Vocabulai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           </a:t>
                      </a:r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Outils de langue</a:t>
                      </a:r>
                      <a:endParaRPr lang="fr-FR" sz="1800" dirty="0">
                        <a:solidFill>
                          <a:schemeClr val="bg1">
                            <a:lumMod val="6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2" name="Freeform 8">
            <a:extLst>
              <a:ext uri="{FF2B5EF4-FFF2-40B4-BE49-F238E27FC236}">
                <a16:creationId xmlns:a16="http://schemas.microsoft.com/office/drawing/2014/main" id="{2C664AD6-C8D4-4409-25DB-F5C383BF46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987957" y="675753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9CAD533-B8DF-9EE4-5CD2-5F3883E2672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885815" y="4299302"/>
            <a:ext cx="3149822" cy="303051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726430CD-4292-4BF4-CB9D-09D07DDA009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567546" y="601321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C’est quoi ? 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</a:t>
            </a:r>
          </a:p>
        </p:txBody>
      </p:sp>
    </p:spTree>
    <p:extLst>
      <p:ext uri="{BB962C8B-B14F-4D97-AF65-F5344CB8AC3E}">
        <p14:creationId xmlns:p14="http://schemas.microsoft.com/office/powerpoint/2010/main" val="7754745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32E872-26DB-4AAF-AA98-291C8DB3C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9D7CE547-610E-AEE0-FF89-A140F5DEFDA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 flipH="1">
            <a:off x="634506" y="64995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809986A-24E7-5C3D-A6E3-3155CAC0D6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412611" y="464582"/>
            <a:ext cx="1894143" cy="126338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7B5CECB9-FE73-D17F-FC1D-AFF04AD23A5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 rot="636592">
            <a:off x="5353201" y="4174182"/>
            <a:ext cx="3009596" cy="3700516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8FD76082-5C28-CE80-DA07-AF611884353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567546" y="5870"/>
          <a:ext cx="10121466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3822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3373822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3373822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411480">
                <a:tc>
                  <a:txBody>
                    <a:bodyPr/>
                    <a:lstStyle/>
                    <a:p>
                      <a:pPr marL="0" indent="0" algn="ctr" defTabSz="685818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 Lectur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 Vocabulai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           </a:t>
                      </a:r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</a:t>
                      </a:r>
                      <a:r>
                        <a:rPr lang="fr-FR" sz="1800" b="1" kern="1200" dirty="0">
                          <a:solidFill>
                            <a:schemeClr val="bg1"/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Outils de langue</a:t>
                      </a:r>
                      <a:endParaRPr lang="fr-FR" sz="1800" dirty="0">
                        <a:solidFill>
                          <a:schemeClr val="bg1">
                            <a:lumMod val="65000"/>
                          </a:schemeClr>
                        </a:solidFill>
                        <a:latin typeface="Dosis" pitchFamily="2" charset="0"/>
                      </a:endParaRP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10" name="ZoneTexte 9">
            <a:extLst>
              <a:ext uri="{FF2B5EF4-FFF2-40B4-BE49-F238E27FC236}">
                <a16:creationId xmlns:a16="http://schemas.microsoft.com/office/drawing/2014/main" id="{CE473D93-8047-F25E-DB5B-93D4A5E9112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62746" y="535657"/>
            <a:ext cx="8687274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C’est quoi ?</a:t>
            </a:r>
          </a:p>
          <a:p>
            <a:pPr defTabSz="1371668">
              <a:spcAft>
                <a:spcPts val="45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Qui veut répondre avec une phrase ?  </a:t>
            </a:r>
          </a:p>
        </p:txBody>
      </p:sp>
    </p:spTree>
    <p:extLst>
      <p:ext uri="{BB962C8B-B14F-4D97-AF65-F5344CB8AC3E}">
        <p14:creationId xmlns:p14="http://schemas.microsoft.com/office/powerpoint/2010/main" val="4068651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>
            <p:custDataLst>
              <p:tags r:id="rId1"/>
            </p:custDataLst>
          </p:nvPr>
        </p:nvSpPr>
        <p:spPr>
          <a:xfrm>
            <a:off x="0" y="13485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6"/>
            <a:stretch>
              <a:fillRect t="-5555" b="-5555"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/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/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/>
          <p:cNvSpPr txBox="1"/>
          <p:nvPr>
            <p:custDataLst>
              <p:tags r:id="rId4"/>
            </p:custDataLst>
          </p:nvPr>
        </p:nvSpPr>
        <p:spPr>
          <a:xfrm>
            <a:off x="3276600" y="2476501"/>
            <a:ext cx="8019621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Conventions pour l’usage des suppor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4050696-8E39-F1CF-ABF8-86FF935959D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/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7289EC27-7BBE-1564-F14F-8F211F9440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776932" y="366680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/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2180162-B144-7FD4-BB9F-A0EAFFD8A3D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3762221"/>
            <a:ext cx="1374914" cy="762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5B715999-34C4-2141-4830-610FF1FFF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06084" y="3955716"/>
            <a:ext cx="5416073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Pages réservées à l’enseignant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F8696B5-768D-1B28-07DD-B75235E312F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66524" y="5351607"/>
            <a:ext cx="1374914" cy="762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10E672A-213D-5DC3-723E-374E0022336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606083" y="5545103"/>
            <a:ext cx="8401995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Explications et consignes à dire aux élèves</a:t>
            </a: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953CC148-4B93-BBCE-4E28-D9EC27DDD1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0800000" flipH="1">
            <a:off x="1910312" y="5545103"/>
            <a:ext cx="929375" cy="627953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/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023503FF-8B75-175E-D636-720EC89779C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76601" y="7033208"/>
            <a:ext cx="1374914" cy="7620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5E1446DD-0BB2-867F-17EC-2511CA95D91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13291" y="7169141"/>
            <a:ext cx="8019621" cy="52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/>
            <a:r>
              <a:rPr lang="fr-FR" sz="2801" b="1" dirty="0">
                <a:solidFill>
                  <a:srgbClr val="1F497D">
                    <a:lumMod val="50000"/>
                  </a:srgbClr>
                </a:solidFill>
                <a:latin typeface="Dosis" pitchFamily="2" charset="0"/>
              </a:rPr>
              <a:t>Audio enregistré (déclenchement automatique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2ABBF97-DB21-AAF2-60D3-362648DC1197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1718466" y="6989980"/>
            <a:ext cx="1543266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183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7C2245-F486-D1D7-E3D4-9FA95ED79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60A7A3D6-D4D4-CC8A-BA9B-80C35DFABE8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5442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344E9FFE-8356-1D18-B264-436E99C28CF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12633" y="2857500"/>
            <a:ext cx="10416929" cy="55630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1.  Rituel </a:t>
            </a:r>
          </a:p>
          <a:p>
            <a:pPr defTabSz="914445">
              <a:lnSpc>
                <a:spcPct val="150000"/>
              </a:lnSpc>
              <a:spcAft>
                <a:spcPts val="900"/>
              </a:spcAft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Révision des lettres - révision du vocabulaire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2. Acte de parole 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C’est quoi ?</a:t>
            </a:r>
          </a:p>
          <a:p>
            <a:pPr defTabSz="914445">
              <a:defRPr/>
            </a:pPr>
            <a:r>
              <a:rPr lang="fr-FR" sz="3000" dirty="0">
                <a:solidFill>
                  <a:schemeClr val="bg1">
                    <a:lumMod val="65000"/>
                  </a:schemeClr>
                </a:solidFill>
                <a:latin typeface="Dosis" pitchFamily="2" charset="0"/>
                <a:cs typeface="Calibri" panose="020F0502020204030204" pitchFamily="34" charset="0"/>
              </a:rPr>
              <a:t>C’est /Ce n’est pas … .</a:t>
            </a:r>
          </a:p>
          <a:p>
            <a:pPr defTabSz="914445">
              <a:lnSpc>
                <a:spcPct val="150000"/>
              </a:lnSpc>
              <a:defRPr/>
            </a:pPr>
            <a:r>
              <a:rPr lang="fr-FR" sz="4200" b="1" dirty="0">
                <a:solidFill>
                  <a:srgbClr val="4BACC6">
                    <a:lumMod val="50000"/>
                  </a:srgbClr>
                </a:solidFill>
                <a:latin typeface="Dosis" pitchFamily="2" charset="0"/>
                <a:cs typeface="Calibri" panose="020F0502020204030204" pitchFamily="34" charset="0"/>
              </a:rPr>
              <a:t>3. Lecture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Reconnaître la lettre l en minuscule et en majuscule.</a:t>
            </a:r>
          </a:p>
          <a:p>
            <a:pPr defTabSz="914445">
              <a:defRPr/>
            </a:pPr>
            <a:r>
              <a:rPr lang="fr-FR" sz="3000" b="1" dirty="0">
                <a:solidFill>
                  <a:srgbClr val="5C9ED1"/>
                </a:solidFill>
                <a:latin typeface="Dosis" pitchFamily="2" charset="0"/>
                <a:cs typeface="Calibri" panose="020F0502020204030204" pitchFamily="34" charset="0"/>
              </a:rPr>
              <a:t>Lire la lettre l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C1D849F-3B5F-61B1-897E-E1FF716F33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FC15F88-B596-9CA2-3025-B9427E0615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739DBF0-417B-F941-918F-006125B83B5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7895" y="6664994"/>
            <a:ext cx="1497114" cy="7620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0D684207-5370-B0B9-4E7D-2DCF37AFFC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-32131" y="1140774"/>
            <a:ext cx="13716001" cy="11156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endParaRPr lang="fr-FR" sz="6000" b="1" dirty="0">
              <a:solidFill>
                <a:srgbClr val="215968"/>
              </a:solidFill>
              <a:latin typeface="Dosis" pitchFamily="2" charset="0"/>
            </a:endParaRPr>
          </a:p>
          <a:p>
            <a:pPr algn="ctr" defTabSz="685835">
              <a:lnSpc>
                <a:spcPts val="4199"/>
              </a:lnSpc>
              <a:defRPr/>
            </a:pPr>
            <a:r>
              <a:rPr lang="fr-FR" sz="6000" b="1" dirty="0">
                <a:solidFill>
                  <a:srgbClr val="215968"/>
                </a:solidFill>
                <a:latin typeface="Dosis" pitchFamily="2" charset="0"/>
              </a:rPr>
              <a:t>Séance 2</a:t>
            </a:r>
          </a:p>
        </p:txBody>
      </p:sp>
    </p:spTree>
    <p:extLst>
      <p:ext uri="{BB962C8B-B14F-4D97-AF65-F5344CB8AC3E}">
        <p14:creationId xmlns:p14="http://schemas.microsoft.com/office/powerpoint/2010/main" val="73097198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71E22-8F9A-99F9-518F-BF98917492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2A5DA7EF-63AC-455E-AF22-3F0A7C03F49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3810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2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5B2BBF4F-ECAE-0051-7CC5-F246A7D1D0B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733455"/>
            <a:ext cx="12954000" cy="8765811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40134A9C-0C53-3CFB-98C3-75F3443CB88C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DB3F068D-EB28-6E19-DE39-B81B074C5625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386A7AE6-CFBD-52E4-FE0D-695C0FE09B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6222" y="13625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8264417A-1DBC-24FA-F550-4F52B652A2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747428" y="1822448"/>
            <a:ext cx="5029200" cy="5123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 defTabSz="685835">
              <a:lnSpc>
                <a:spcPts val="4199"/>
              </a:lnSpc>
              <a:defRPr/>
            </a:pPr>
            <a:r>
              <a:rPr lang="fr-FR" sz="3200" dirty="0">
                <a:solidFill>
                  <a:srgbClr val="106585"/>
                </a:solidFill>
                <a:latin typeface="Carelia"/>
              </a:rPr>
              <a:t>Objectifs de l’activité 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1187D41-CEB4-FE60-D27D-67CD94D53ED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1638" y="3335592"/>
            <a:ext cx="11752727" cy="4200876"/>
            <a:chOff x="1021947" y="3100970"/>
            <a:chExt cx="11752727" cy="3654320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468302FA-EA3C-CC57-86C4-4E4192540CA6}"/>
                </a:ext>
              </a:extLst>
            </p:cNvPr>
            <p:cNvSpPr/>
            <p:nvPr/>
          </p:nvSpPr>
          <p:spPr>
            <a:xfrm rot="10800000" flipH="1">
              <a:off x="1021947" y="3100970"/>
              <a:ext cx="11752727" cy="3654320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27094289-0B76-5D08-BC20-FD91748D7695}"/>
                </a:ext>
              </a:extLst>
            </p:cNvPr>
            <p:cNvSpPr/>
            <p:nvPr/>
          </p:nvSpPr>
          <p:spPr>
            <a:xfrm>
              <a:off x="1255693" y="3189998"/>
              <a:ext cx="706508" cy="3565292"/>
            </a:xfrm>
            <a:custGeom>
              <a:avLst/>
              <a:gdLst/>
              <a:ahLst/>
              <a:cxnLst/>
              <a:rect l="l" t="t" r="r" b="b"/>
              <a:pathLst>
                <a:path w="3062465" h="1213150">
                  <a:moveTo>
                    <a:pt x="0" y="0"/>
                  </a:moveTo>
                  <a:lnTo>
                    <a:pt x="3062465" y="0"/>
                  </a:lnTo>
                  <a:lnTo>
                    <a:pt x="3062465" y="1213150"/>
                  </a:lnTo>
                  <a:lnTo>
                    <a:pt x="0" y="121315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 l="-109199" t="-6937" r="-896458" b="-829367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90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pic>
        <p:nvPicPr>
          <p:cNvPr id="19" name="Image 18">
            <a:extLst>
              <a:ext uri="{FF2B5EF4-FFF2-40B4-BE49-F238E27FC236}">
                <a16:creationId xmlns:a16="http://schemas.microsoft.com/office/drawing/2014/main" id="{8109628E-D429-AA02-366B-281F1DC33EE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480252" y="4022969"/>
            <a:ext cx="504425" cy="549068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847A8638-511D-1F82-7DC7-FB2708ADC9D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49151" y="33334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Dosis"/>
              </a:rPr>
              <a:t>Pour l’enseignant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3C07BA0F-955A-73C5-FF56-948436C05F6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07530" y="4043018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Reconnaître la lettre l en minuscule et en majuscule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7EB510D-D548-CD0A-31A2-90CB273B8D6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480252" y="5243004"/>
            <a:ext cx="504425" cy="54906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741416F-0152-9049-C271-97F444E3127C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507530" y="5263053"/>
            <a:ext cx="9875000" cy="544830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35">
              <a:defRPr/>
            </a:pPr>
            <a:r>
              <a:rPr lang="fr-FR" sz="3200" b="1" dirty="0">
                <a:solidFill>
                  <a:srgbClr val="4F81BD">
                    <a:lumMod val="50000"/>
                  </a:srgbClr>
                </a:solidFill>
                <a:latin typeface="Dosis" pitchFamily="2" charset="0"/>
              </a:rPr>
              <a:t>Lire la lettre l</a:t>
            </a:r>
          </a:p>
        </p:txBody>
      </p:sp>
    </p:spTree>
    <p:extLst>
      <p:ext uri="{BB962C8B-B14F-4D97-AF65-F5344CB8AC3E}">
        <p14:creationId xmlns:p14="http://schemas.microsoft.com/office/powerpoint/2010/main" val="279467571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CF0CED95-0603-3709-3170-C0FFF228C7F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80367" y="69328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375C387-D836-D3E9-8DBD-CD7E6F8775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38002" y="605083"/>
            <a:ext cx="115293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C’est la lettre l. Elle fait le son « l »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Répétez après moi « l ». 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F74119A1-AFFB-D68B-C618-B9FF072CF5B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AEF6EAB0-6874-1655-A805-F903F7D8929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047113" y="420140"/>
            <a:ext cx="1427019" cy="1575467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EB2EFC9C-8BB3-ACA7-EAF6-50CA67AFE3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4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8700" b="1" dirty="0">
                <a:solidFill>
                  <a:srgbClr val="106584"/>
                </a:solidFill>
                <a:latin typeface="KG Primary Penmanship 2" panose="020B0604020202020204" charset="0"/>
              </a:rPr>
              <a:t>l</a:t>
            </a:r>
            <a:endParaRPr lang="fr-MA" sz="28700" b="1" dirty="0">
              <a:solidFill>
                <a:srgbClr val="106584"/>
              </a:solidFill>
              <a:latin typeface="KG Primary Penmanship 2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0878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D73354AC-8F6E-ED78-BD53-2DD41621B5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46863" y="707210"/>
            <a:ext cx="11529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C’est la lettre l en majuscule.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AFE6CDB9-65B9-AB83-8D25-4D23F042EA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38206" y="776485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783DBB4C-D2D2-26E6-FBA3-A721020521AD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A2E0B4C8-B8D2-8A6A-A9F4-6BE06E087E0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7D5D14A2-8662-1B07-9DD1-3579601C4FE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4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MA" sz="28700" b="1" dirty="0">
                <a:solidFill>
                  <a:srgbClr val="106584"/>
                </a:solidFill>
                <a:latin typeface="KG Primary Penmanship 2" panose="020B0604020202020204" charset="0"/>
              </a:rPr>
              <a:t>L  </a:t>
            </a:r>
          </a:p>
        </p:txBody>
      </p:sp>
    </p:spTree>
    <p:extLst>
      <p:ext uri="{BB962C8B-B14F-4D97-AF65-F5344CB8AC3E}">
        <p14:creationId xmlns:p14="http://schemas.microsoft.com/office/powerpoint/2010/main" val="420272319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884091-E15D-1BB6-AF78-D8B9B762A1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468B468B-E77E-495C-D8D2-B48DD9F1A07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63836" y="578762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L - l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répéter ?  </a:t>
            </a:r>
            <a:endParaRPr kumimoji="0" lang="fr-FR" sz="225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5826FE9C-8D61-A019-B9BE-178D6B7A23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7062" y="70210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3F2333C2-5C7E-82C0-5ED2-FC7F1677886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s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FD3AF820-F703-0848-EB60-DA60884413C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11132461" y="587312"/>
            <a:ext cx="1860771" cy="124112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673967F-5E41-6FF6-BEA6-DCF5C5B998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1474" y="2889036"/>
            <a:ext cx="12973049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MA" sz="28700" b="1" dirty="0">
                <a:solidFill>
                  <a:srgbClr val="106584"/>
                </a:solidFill>
                <a:latin typeface="KG Primary Penmanship 2" panose="020B0604020202020204" charset="0"/>
              </a:rPr>
              <a:t>l   </a:t>
            </a:r>
            <a:r>
              <a:rPr lang="fr-MA" sz="28700" b="1" dirty="0" err="1">
                <a:solidFill>
                  <a:srgbClr val="106584"/>
                </a:solidFill>
                <a:latin typeface="KG Primary Penmanship 2" panose="020B0604020202020204" charset="0"/>
              </a:rPr>
              <a:t>L</a:t>
            </a:r>
            <a:r>
              <a:rPr lang="fr-MA" sz="28700" dirty="0">
                <a:solidFill>
                  <a:srgbClr val="106585"/>
                </a:solidFill>
                <a:latin typeface="Candara" panose="020E0502030303020204" pitchFamily="34" charset="0"/>
              </a:rPr>
              <a:t> </a:t>
            </a:r>
            <a:endParaRPr lang="fr-MA" sz="287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871912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61B21-03F2-2E82-9983-8051655CA8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3D210924-F8D0-F192-E352-52FE342A560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06963" y="650356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82FA0C53-EA0B-8B3B-8CC8-ABD1AD1EB23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38177" y="562153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l comme dans livre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Dans le mot « livre », je vois la lettre l et j’entends le son « l</a:t>
            </a:r>
            <a:r>
              <a:rPr lang="fr-FR" sz="2400" b="1" dirty="0">
                <a:solidFill>
                  <a:srgbClr val="A6A6A6"/>
                </a:solidFill>
                <a:latin typeface="Calibri "/>
              </a:rPr>
              <a:t>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».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6E704F70-72D3-14F3-B4BB-D9AFE6D8C95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35122" y="4012444"/>
            <a:ext cx="813301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</a:t>
            </a:r>
            <a:r>
              <a:rPr kumimoji="0" lang="fr-FR" sz="138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ivre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654AE645-6043-69B0-95A2-2FAE42D063C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6279FD9F-7B5F-FB6F-D4EE-D909831E19E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14B65A6-8660-7229-AE3C-82311B44416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8568136" y="4060254"/>
            <a:ext cx="2866603" cy="216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30495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AB8EA3-1810-BFE4-585C-5586345BC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3640BA9E-8829-3707-39B4-21F8A26B2DB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8313" y="696110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313EE23-8E65-AD66-D029-97D7D6F3587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8313" y="4035504"/>
            <a:ext cx="762902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800" b="1" i="0" u="none" strike="noStrike" kern="1200" cap="none" spc="0" normalizeH="0" baseline="0" noProof="0" dirty="0" err="1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sty</a:t>
            </a:r>
            <a:r>
              <a:rPr lang="fr-FR" sz="13800" b="1" dirty="0">
                <a:solidFill>
                  <a:schemeClr val="accent6">
                    <a:lumMod val="75000"/>
                  </a:schemeClr>
                </a:solidFill>
                <a:latin typeface="Dosis" pitchFamily="2" charset="0"/>
              </a:rPr>
              <a:t>l</a:t>
            </a:r>
            <a:r>
              <a:rPr kumimoji="0" lang="fr-FR" sz="138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</a:t>
            </a:r>
            <a:endParaRPr kumimoji="0" lang="fr-FR" sz="138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6415DB36-B253-05F5-9281-A39A7376E79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8A487779-9DDD-F043-8B41-992E7EB072D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FB0FADD1-8C0E-580C-2EE4-C7D9B3180B0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38177" y="605695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l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comme dans stylo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Dans le mot « stylo », je vois la lettre l et j’entends le son « l ».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496E6D2-8A1A-1A5A-8C73-C3460930CE7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9063178" y="3850397"/>
            <a:ext cx="2103336" cy="258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95115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61B21-03F2-2E82-9983-8051655CA8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8">
            <a:extLst>
              <a:ext uri="{FF2B5EF4-FFF2-40B4-BE49-F238E27FC236}">
                <a16:creationId xmlns:a16="http://schemas.microsoft.com/office/drawing/2014/main" id="{3D210924-F8D0-F192-E352-52FE342A560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8313" y="696110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6E704F70-72D3-14F3-B4BB-D9AFE6D8C95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8313" y="4035504"/>
            <a:ext cx="762902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800" b="1" i="0" u="none" strike="noStrike" kern="1200" cap="none" spc="0" normalizeH="0" baseline="0" noProof="0" dirty="0" err="1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ab</a:t>
            </a:r>
            <a:r>
              <a:rPr kumimoji="0" lang="fr-FR" sz="13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</a:t>
            </a:r>
            <a:r>
              <a:rPr lang="fr-FR" sz="13800" b="1" dirty="0">
                <a:solidFill>
                  <a:srgbClr val="106584"/>
                </a:solidFill>
                <a:latin typeface="Dosis" pitchFamily="2" charset="0"/>
              </a:rPr>
              <a:t>e</a:t>
            </a:r>
            <a:endParaRPr kumimoji="0" lang="fr-FR" sz="138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BFDDB5A1-A43C-97A2-1302-E00DCB6D704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5E7FD6E9-BA89-301C-15F0-62D18311326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42933" y="456293"/>
            <a:ext cx="1427019" cy="1575467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A03FCF5-C7F1-C8FB-552E-86DB53549F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8629682" y="3229516"/>
            <a:ext cx="3113251" cy="382796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0FD603E8-F5F7-BC26-B58F-3F88A8CDE73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238177" y="605695"/>
            <a:ext cx="11529396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A6A6A6"/>
                </a:solidFill>
                <a:latin typeface="Calibri "/>
              </a:rPr>
              <a:t>l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comme dans table.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Dans le mot « table », je vois la lettre l et j’entends le son « l ». </a:t>
            </a:r>
          </a:p>
        </p:txBody>
      </p:sp>
    </p:spTree>
    <p:extLst>
      <p:ext uri="{BB962C8B-B14F-4D97-AF65-F5344CB8AC3E}">
        <p14:creationId xmlns:p14="http://schemas.microsoft.com/office/powerpoint/2010/main" val="33838953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782E04-158B-1A81-9CD9-EFF7565E5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68C038CA-DB1D-BC2F-1343-BC0C38ACA13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bien cette liste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F4EA7E43-E6F3-F69C-4609-35FC759D486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C38160C2-7057-510A-39B0-F87C9654329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00704CBB-85F1-59B4-D65E-B9B4D1F6F94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11" name="ZoneTexte 2">
            <a:extLst>
              <a:ext uri="{FF2B5EF4-FFF2-40B4-BE49-F238E27FC236}">
                <a16:creationId xmlns:a16="http://schemas.microsoft.com/office/drawing/2014/main" id="{574605EF-C02C-61C7-CBB1-D97791933AA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54586" y="6009003"/>
            <a:ext cx="12192000" cy="213904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L i F l 7 L t I h l E</a:t>
            </a:r>
          </a:p>
        </p:txBody>
      </p:sp>
    </p:spTree>
    <p:extLst>
      <p:ext uri="{BB962C8B-B14F-4D97-AF65-F5344CB8AC3E}">
        <p14:creationId xmlns:p14="http://schemas.microsoft.com/office/powerpoint/2010/main" val="244915159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6657D-B6CC-495F-AA94-DFBBE2212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72C95F29-B479-31D9-5711-4924DD9EC3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montrer la lettre l ?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DCF41EB6-12EB-5C64-C713-51ED82367A4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32815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407F05F1-7FB3-351A-0377-683CC92DBF1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F81C8CB-55A5-F70E-92A3-39AFAD94805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  <p:sp>
        <p:nvSpPr>
          <p:cNvPr id="2" name="ZoneTexte 2">
            <a:extLst>
              <a:ext uri="{FF2B5EF4-FFF2-40B4-BE49-F238E27FC236}">
                <a16:creationId xmlns:a16="http://schemas.microsoft.com/office/drawing/2014/main" id="{419BC972-10EB-09EF-9E16-5BBA1A31CDF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54586" y="6009003"/>
            <a:ext cx="12192000" cy="213904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L i F l 7 L t I h l E</a:t>
            </a:r>
          </a:p>
        </p:txBody>
      </p:sp>
    </p:spTree>
    <p:extLst>
      <p:ext uri="{BB962C8B-B14F-4D97-AF65-F5344CB8AC3E}">
        <p14:creationId xmlns:p14="http://schemas.microsoft.com/office/powerpoint/2010/main" val="40605233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84DB-06AD-D0E2-8538-3F09DE4C4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D27F43D-2AAC-3924-3C8D-F1B03F83B3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8286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3"/>
            <a:stretch>
              <a:fillRect t="-5555" b="-5555"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314923F-69FD-5D4C-611C-138FFCB9BA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1104900"/>
            <a:ext cx="12954000" cy="83943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E5EB3374-A76C-2A54-6038-72818B2CDB51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just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1758D412-727A-87EE-D7AD-DF9242B11ED6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marL="0" marR="0" lvl="0" indent="0" algn="just" defTabSz="685835" rtl="0" eaLnBrk="1" fontAlgn="auto" latinLnBrk="0" hangingPunct="1">
                <a:lnSpc>
                  <a:spcPts val="240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AFDA5764-B6A4-60C6-DCDA-6856AC1D5F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4626" y="441300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just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EA470B7-E062-15E0-33DE-CF45AE1EF6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9060" y="1865441"/>
            <a:ext cx="7271961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685835" rtl="0" eaLnBrk="1" fontAlgn="auto" latinLnBrk="0" hangingPunct="1">
              <a:lnSpc>
                <a:spcPts val="4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ictogrammes pour la gestion de la leçon. 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D3FF3D4-5F97-F646-3844-63C78EA24D1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9601" y="528735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ur l’enseigna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A451E6-42B1-DFF1-7AE4-A7F2056EC0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91" y="4756182"/>
            <a:ext cx="37968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delage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écoutent.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EE9A24F-D8C5-7E23-497C-A5D00EB35DF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000" y="2954900"/>
            <a:ext cx="1636031" cy="16318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5BB7C58-97F4-D723-60E8-49521E84193F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300" t="15392" r="7546" b="7116"/>
          <a:stretch/>
        </p:blipFill>
        <p:spPr>
          <a:xfrm>
            <a:off x="4116140" y="2982989"/>
            <a:ext cx="2566257" cy="17116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9EC96FEE-CB37-D47D-DC7D-94A02B44A06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592846" y="4828793"/>
            <a:ext cx="330403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Questions directes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désigne des élèves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B73E3A4-703C-71EA-8A0D-2E42F69B21D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86454" y="2977902"/>
            <a:ext cx="1747521" cy="1466991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97A78D7E-4EA3-8F6B-EB49-9380B2CCBAA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379758" y="4770770"/>
            <a:ext cx="430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Répétition choral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oute la classe participe. 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ACD71421-7E63-0887-15F3-9B3C58CC5617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320256" y="6354876"/>
            <a:ext cx="1849217" cy="1142676"/>
          </a:xfrm>
          <a:prstGeom prst="roundRect">
            <a:avLst>
              <a:gd name="adj" fmla="val 31362"/>
            </a:avLst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519DECAF-6F46-F2D9-3C43-0C5075904C4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377366" y="7796685"/>
            <a:ext cx="39154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assage au tableau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Un élève réalise la tâche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1BAC82B-025C-D00A-B7BA-2FDECC2C4E40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13" y="6218106"/>
            <a:ext cx="1412672" cy="133768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BC7C708A-7CF6-ABB8-7BF8-C9174CC9466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4402" y="7824352"/>
            <a:ext cx="35495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cture silencieuse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30520AD-873E-13AF-FDF7-426FBF1C62A8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225" y="6234380"/>
            <a:ext cx="1846817" cy="1291715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C81664E-77EA-659F-4F1A-E015F091A3C5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7101466" y="7711353"/>
            <a:ext cx="349570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ratique autonome.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’enseignant circule entre les rangs.  </a:t>
            </a:r>
          </a:p>
        </p:txBody>
      </p:sp>
      <p:pic>
        <p:nvPicPr>
          <p:cNvPr id="18" name="Image 17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DA3012CF-2363-2ED8-3431-EDCB4ED9ADC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64686" y="6013321"/>
            <a:ext cx="1250264" cy="1512774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9A6834E-AFB5-023D-9381-B94F5B6F48A0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220479" y="7796189"/>
            <a:ext cx="33040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Observation. 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observent. 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DCA9C8A-9242-4256-6CC5-A41CF76EF40C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7355492" y="3122272"/>
            <a:ext cx="1961535" cy="1238864"/>
            <a:chOff x="7152968" y="2374490"/>
            <a:chExt cx="1961535" cy="1238864"/>
          </a:xfrm>
        </p:grpSpPr>
        <p:sp>
          <p:nvSpPr>
            <p:cNvPr id="21" name="Bulle narrative : ronde 20">
              <a:extLst>
                <a:ext uri="{FF2B5EF4-FFF2-40B4-BE49-F238E27FC236}">
                  <a16:creationId xmlns:a16="http://schemas.microsoft.com/office/drawing/2014/main" id="{9FF31181-CF52-0696-E904-1C18160AA31D}"/>
                </a:ext>
              </a:extLst>
            </p:cNvPr>
            <p:cNvSpPr/>
            <p:nvPr/>
          </p:nvSpPr>
          <p:spPr>
            <a:xfrm>
              <a:off x="7152968" y="2374490"/>
              <a:ext cx="1961535" cy="1224116"/>
            </a:xfrm>
            <a:prstGeom prst="wedgeEllipseCallou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CEB0F0D4-5E2D-4A78-A130-A4204955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340077" y="2415547"/>
              <a:ext cx="1553200" cy="1197807"/>
            </a:xfrm>
            <a:prstGeom prst="rect">
              <a:avLst/>
            </a:prstGeom>
          </p:spPr>
        </p:pic>
      </p:grpSp>
      <p:sp>
        <p:nvSpPr>
          <p:cNvPr id="25" name="ZoneTexte 24">
            <a:extLst>
              <a:ext uri="{FF2B5EF4-FFF2-40B4-BE49-F238E27FC236}">
                <a16:creationId xmlns:a16="http://schemas.microsoft.com/office/drawing/2014/main" id="{05BDA0A1-C1DE-3363-14D1-25382633DF6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1905" y="4785518"/>
            <a:ext cx="304871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5C9ED1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Dites-le en arabe</a:t>
            </a:r>
          </a:p>
          <a:p>
            <a:pPr marL="0" marR="0" lvl="0" indent="0" algn="ctr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es élèves disent le mot en arabe. </a:t>
            </a:r>
          </a:p>
        </p:txBody>
      </p:sp>
    </p:spTree>
    <p:extLst>
      <p:ext uri="{BB962C8B-B14F-4D97-AF65-F5344CB8AC3E}">
        <p14:creationId xmlns:p14="http://schemas.microsoft.com/office/powerpoint/2010/main" val="26352967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357E5-653F-4F8C-178F-C71757D77A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1056AF0C-A06A-FDD6-E10C-9EEEA5A09E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39512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Repérez la lettre l dans la liste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FB4FE97C-394E-F01D-741E-00D236CD1D0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98128" y="774267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7C0E5A3-AD60-C704-F0B9-C82FEE8B1D0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647C6356-B5F0-C6EE-FF27-890E6773FC4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83142" y="524034"/>
            <a:ext cx="878270" cy="1250798"/>
          </a:xfrm>
          <a:prstGeom prst="rect">
            <a:avLst/>
          </a:prstGeom>
        </p:spPr>
      </p:pic>
      <p:sp>
        <p:nvSpPr>
          <p:cNvPr id="5" name="ZoneTexte 2">
            <a:extLst>
              <a:ext uri="{FF2B5EF4-FFF2-40B4-BE49-F238E27FC236}">
                <a16:creationId xmlns:a16="http://schemas.microsoft.com/office/drawing/2014/main" id="{5192F032-EAE0-01CC-5086-B05C62CFD91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54586" y="6009003"/>
            <a:ext cx="12192000" cy="213904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MA" sz="13300" b="1" dirty="0">
                <a:solidFill>
                  <a:srgbClr val="E46C0A"/>
                </a:solidFill>
                <a:latin typeface="KG Primary Penmanship Alt" panose="02000506000000020003" pitchFamily="2" charset="0"/>
              </a:rPr>
              <a:t>L</a:t>
            </a:r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 i F </a:t>
            </a:r>
            <a:r>
              <a:rPr lang="fr-MA" sz="13300" b="1" dirty="0">
                <a:solidFill>
                  <a:srgbClr val="E46C0A"/>
                </a:solidFill>
                <a:latin typeface="KG Primary Penmanship Alt" panose="02000506000000020003" pitchFamily="2" charset="0"/>
              </a:rPr>
              <a:t>l</a:t>
            </a:r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 7 </a:t>
            </a:r>
            <a:r>
              <a:rPr lang="fr-MA" sz="13300" b="1" dirty="0">
                <a:solidFill>
                  <a:srgbClr val="E46C0A"/>
                </a:solidFill>
                <a:latin typeface="KG Primary Penmanship Alt" panose="02000506000000020003" pitchFamily="2" charset="0"/>
              </a:rPr>
              <a:t>L</a:t>
            </a:r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 t I h </a:t>
            </a:r>
            <a:r>
              <a:rPr lang="fr-MA" sz="13300" b="1" dirty="0">
                <a:solidFill>
                  <a:srgbClr val="E46C0A"/>
                </a:solidFill>
                <a:latin typeface="KG Primary Penmanship Alt" panose="02000506000000020003" pitchFamily="2" charset="0"/>
              </a:rPr>
              <a:t>l</a:t>
            </a:r>
            <a:r>
              <a:rPr lang="fr-MA" sz="13300" b="1" dirty="0">
                <a:solidFill>
                  <a:srgbClr val="106585"/>
                </a:solidFill>
                <a:latin typeface="KG Primary Penmanship Alt" panose="02000506000000020003" pitchFamily="2" charset="0"/>
              </a:rPr>
              <a:t> E</a:t>
            </a:r>
            <a:endParaRPr lang="fr-MA" sz="9600" b="1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630681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AC7D83-CF1D-8037-B88F-1128FD6B2A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2C0D5F17-7E62-71A4-1AFB-06414CA5A2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ontrer la lettre l dans ce mot ? 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51307C32-FCFD-CBD6-8C73-E3A5659B81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E44B8AB-F44A-0CDB-BC5A-1C538DED8BD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école</a:t>
            </a:r>
            <a:endParaRPr kumimoji="0" lang="fr-FR" sz="16600" b="1" i="0" u="none" strike="noStrike" kern="1200" cap="none" spc="0" normalizeH="0" baseline="0" noProof="0" dirty="0">
              <a:ln>
                <a:noFill/>
              </a:ln>
              <a:solidFill>
                <a:srgbClr val="106584"/>
              </a:solidFill>
              <a:effectLst/>
              <a:uLnTx/>
              <a:uFillTx/>
              <a:latin typeface="Dosis Medium" pitchFamily="2" charset="0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4C57ABE8-8D8B-BC7A-2AD0-B926883E3E1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BB27E591-E831-28FB-EEFB-8F93B40CF4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</p:spTree>
    <p:extLst>
      <p:ext uri="{BB962C8B-B14F-4D97-AF65-F5344CB8AC3E}">
        <p14:creationId xmlns:p14="http://schemas.microsoft.com/office/powerpoint/2010/main" val="317564788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BD728E-1B5C-728D-FF21-4CABB953A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79BC1B83-2C89-B08B-740F-03332CDFD5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la lettre l dans le mot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4D122E15-722D-0AB1-1459-79BD92442C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539E80E6-A658-5944-D119-CFDDCCB805A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53364B24-7222-28E2-3547-174E1CFA71C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4073ADFC-BA5A-AF91-05AC-2FEE379F2A8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6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 Medium" pitchFamily="2" charset="0"/>
              </a:rPr>
              <a:t>éco</a:t>
            </a:r>
            <a:r>
              <a:rPr lang="fr-FR" sz="16600" b="1" dirty="0">
                <a:solidFill>
                  <a:srgbClr val="E46C0A"/>
                </a:solidFill>
                <a:latin typeface="Dosis Medium" pitchFamily="2" charset="0"/>
              </a:rPr>
              <a:t>l</a:t>
            </a:r>
            <a:r>
              <a:rPr kumimoji="0" lang="fr-FR" sz="166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 Medium" pitchFamily="2" charset="0"/>
              </a:rPr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173805689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B35EAB-E7BC-53F1-0066-F8C8452FA1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11F65C9C-91F7-3D1D-46BC-61F521D2CA6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ontrer la lettre l dans ce mot ? 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4204584F-1E14-BC30-EFAC-37ECC9C8E0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653998D-0C86-C980-6D74-4E5CEF6340F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6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 Medium" pitchFamily="2" charset="0"/>
              </a:rPr>
              <a:t>Lecture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B4542C66-0647-1CAB-B840-FD5086B3B99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396DDD33-F908-8B18-E555-3F2F05019BE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</p:spTree>
    <p:extLst>
      <p:ext uri="{BB962C8B-B14F-4D97-AF65-F5344CB8AC3E}">
        <p14:creationId xmlns:p14="http://schemas.microsoft.com/office/powerpoint/2010/main" val="247404674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6F95E1-57EE-D056-A912-362E29734A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9A0A63FE-3B3C-DC4B-B8AF-DA9A0ECAEAD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la lettre l dans le mot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509C399E-2642-A7EF-DA09-DA5D25E36B7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50C017E7-0701-493D-7107-F3196F022C8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4232BA81-415D-A89F-D944-9D07D761571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37DA6A43-1BDB-F42C-9995-F0F90232767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Dosis Medium" pitchFamily="2" charset="0"/>
              </a:rPr>
              <a:t>L</a:t>
            </a:r>
            <a:r>
              <a:rPr kumimoji="0" lang="fr-FR" sz="166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 Medium" pitchFamily="2" charset="0"/>
              </a:rPr>
              <a:t>ect</a:t>
            </a: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u</a:t>
            </a:r>
            <a:r>
              <a:rPr kumimoji="0" lang="fr-FR" sz="166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 Medium" pitchFamily="2" charset="0"/>
              </a:rPr>
              <a:t>re</a:t>
            </a:r>
          </a:p>
        </p:txBody>
      </p:sp>
    </p:spTree>
    <p:extLst>
      <p:ext uri="{BB962C8B-B14F-4D97-AF65-F5344CB8AC3E}">
        <p14:creationId xmlns:p14="http://schemas.microsoft.com/office/powerpoint/2010/main" val="409853526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51E96B-A2C4-53E0-A058-569DF729DE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53CE007E-815F-BA33-4FDC-D6D62C527B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Qui veut passer au tableau pour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montrer la lettre l dans ce mot ? 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B8B3052B-69B6-84D6-D5F8-21A5EA6AAF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46E9D3B8-7A42-2B76-3FAB-DFA6D92D3362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319F6FB3-AB6C-1809-CE11-B49CCB4B12C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1236335" y="744686"/>
            <a:ext cx="1580024" cy="976335"/>
          </a:xfrm>
          <a:prstGeom prst="roundRect">
            <a:avLst>
              <a:gd name="adj" fmla="val 31362"/>
            </a:avLst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DD688241-719B-8A54-CBA1-2EC58895BC3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6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 Medium" pitchFamily="2" charset="0"/>
              </a:rPr>
              <a:t>couleur </a:t>
            </a:r>
          </a:p>
        </p:txBody>
      </p:sp>
    </p:spTree>
    <p:extLst>
      <p:ext uri="{BB962C8B-B14F-4D97-AF65-F5344CB8AC3E}">
        <p14:creationId xmlns:p14="http://schemas.microsoft.com/office/powerpoint/2010/main" val="249610148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DAD8EF-A99B-AC69-A075-C950D215B6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3E1FCB61-4009-7F24-E7A8-2753162306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2428" y="744686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Observez la lettre l dans le mot. 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51D0124A-AE4E-DC96-3219-FD9629AEB3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54586" y="796038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261CE89B-30F4-CF32-FB61-1DF820DF653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A1BA1C8A-DADD-C1B2-A331-053936E4383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045247" y="524034"/>
            <a:ext cx="916165" cy="1304766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410E8B36-44B9-F8AA-BF1E-4B9D0480FAC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7187" y="5143500"/>
            <a:ext cx="1300162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6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 Medium" pitchFamily="2" charset="0"/>
              </a:rPr>
              <a:t>cou</a:t>
            </a:r>
            <a:r>
              <a:rPr lang="fr-FR" sz="16600" b="1" dirty="0">
                <a:solidFill>
                  <a:srgbClr val="E46C0A"/>
                </a:solidFill>
                <a:latin typeface="Dosis Medium" pitchFamily="2" charset="0"/>
              </a:rPr>
              <a:t>l</a:t>
            </a:r>
            <a:r>
              <a:rPr lang="fr-FR" sz="16600" b="1" dirty="0">
                <a:solidFill>
                  <a:srgbClr val="106584"/>
                </a:solidFill>
                <a:latin typeface="Dosis Medium" pitchFamily="2" charset="0"/>
              </a:rPr>
              <a:t>eur</a:t>
            </a:r>
            <a:r>
              <a:rPr kumimoji="0" lang="fr-FR" sz="16600" b="1" i="0" u="none" strike="noStrike" kern="1200" cap="none" spc="0" normalizeH="0" baseline="0" noProof="0" dirty="0">
                <a:ln>
                  <a:noFill/>
                </a:ln>
                <a:solidFill>
                  <a:srgbClr val="106584"/>
                </a:solidFill>
                <a:effectLst/>
                <a:uLnTx/>
                <a:uFillTx/>
                <a:latin typeface="Dosis Medium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613324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0FCE2818-BE99-1687-1E2F-E68CB9A97D4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un livre.  </a:t>
            </a:r>
            <a:r>
              <a:rPr kumimoji="0" lang="fr-FR" sz="22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Li-vre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J’entends le son « l » dans livre.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</a:t>
            </a:r>
            <a:endParaRPr kumimoji="0" lang="fr-FR" sz="22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87B7A0C2-1925-E58F-1880-0E147A8A8A5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042CF18-D63D-137C-7115-744BCFB4A44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42F7EF13-3092-9596-BD87-7E89DDB2913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12FFCDEC-8280-E957-F7AF-370BF32F70C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876628" y="3646040"/>
            <a:ext cx="3962743" cy="2994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07055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A55757-2047-B8D9-ABE4-AED7255341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1A97A348-0690-60F5-CFE4-371BC243EB4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83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685834">
              <a:lnSpc>
                <a:spcPts val="3017"/>
              </a:lnSpc>
              <a:spcBef>
                <a:spcPct val="0"/>
              </a:spcBef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une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 règle. </a:t>
            </a:r>
            <a:r>
              <a:rPr lang="fr-FR" sz="2250" b="1" dirty="0" err="1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Rè-gle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j’entends le son « l » dans règle  ? 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2D612332-BF20-34B0-7F27-88DDA296392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5236D2A-5581-92E5-2C2A-DF5DB9969DD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B956CAE2-AA1F-4530-05C7-FA0115AFD35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F414A0E0-A3BF-39E0-4824-C2A9D589A76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418610" y="3373667"/>
            <a:ext cx="2878779" cy="3539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03869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9F07FF-C6B4-B042-F454-22148BF869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44C26D5F-41F7-EB29-72AB-43B6B5547B7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83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une porte. </a:t>
            </a:r>
            <a:r>
              <a:rPr kumimoji="0" lang="fr-FR" sz="22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Por-te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j’entends le son « l » dans </a:t>
            </a:r>
            <a:r>
              <a:rPr lang="fr-FR" sz="2250" b="1" dirty="0">
                <a:solidFill>
                  <a:prstClr val="white">
                    <a:lumMod val="65000"/>
                  </a:prstClr>
                </a:solidFill>
                <a:latin typeface="Dosis" pitchFamily="2" charset="0"/>
              </a:rPr>
              <a:t>porte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  ? 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AAAA411D-3EE5-A71C-D6E8-3500150539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145B229-BA53-8370-6CA2-CB2F2F56356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AC8160A0-3DFC-BD8A-EB66-C0973ACA4F6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C646957E-1E6E-4C21-571C-73C62F871A7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779085" y="3336798"/>
            <a:ext cx="2157829" cy="4177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1926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3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9" name="TextBox 9"/>
          <p:cNvSpPr txBox="1"/>
          <p:nvPr>
            <p:custDataLst>
              <p:tags r:id="rId2"/>
            </p:custDataLst>
          </p:nvPr>
        </p:nvSpPr>
        <p:spPr>
          <a:xfrm>
            <a:off x="3097817" y="5585909"/>
            <a:ext cx="7520366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didactique</a:t>
            </a: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0100" y="1407111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Matériel techniqu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2204900" y="2644612"/>
            <a:ext cx="1912502" cy="1668047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11857" y="4394611"/>
            <a:ext cx="2504181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5AF469B-2419-1460-4D0E-2A3F112415E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394902" y="4393589"/>
            <a:ext cx="142500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C + PPT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612942" y="4407713"/>
            <a:ext cx="2269574" cy="538610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E08D40C-2D68-A73A-2381-029481DAF74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27753" y="4446212"/>
            <a:ext cx="1343701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inteur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07662" y="2170848"/>
            <a:ext cx="2232162" cy="2229782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83290" y="4374481"/>
            <a:ext cx="3254772" cy="549254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DA954E7-6A2C-C5AF-3AE0-19B26D8976E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76816" y="4400630"/>
            <a:ext cx="2582566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fr-FR" sz="225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jection ajustée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E53E6545-78B9-1C0F-4AE2-7DEF0DA141E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8730084" y="2895119"/>
            <a:ext cx="3160415" cy="992903"/>
          </a:xfrm>
          <a:prstGeom prst="rect">
            <a:avLst/>
          </a:prstGeom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9D132A3B-F0F2-35FE-99DC-A96843AFCA2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508617" y="8682834"/>
            <a:ext cx="1779566" cy="538610"/>
            <a:chOff x="5802255" y="5807067"/>
            <a:chExt cx="1186377" cy="359073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804A669-72C6-3FA1-5791-E7CB5CA77B2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4BFB723B-1198-9769-D313-3CDD4CA76B0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Livret  </a:t>
              </a:r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5753C2A9-3189-5FAE-322D-3B6DC0946D1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4781755" y="6506980"/>
            <a:ext cx="1360298" cy="1942484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D3E0DBCB-E98C-6943-0AAE-117B0145F9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256C08F-FE2D-887C-5E62-41F4AC8B3721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00030" y="6777206"/>
            <a:ext cx="1789002" cy="1383142"/>
          </a:xfrm>
          <a:prstGeom prst="rect">
            <a:avLst/>
          </a:prstGeom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7E9C0502-A7A0-8331-FC77-BD2C8A83A92A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7485754" y="8644972"/>
            <a:ext cx="1779566" cy="538610"/>
            <a:chOff x="5802255" y="5807067"/>
            <a:chExt cx="1186377" cy="359073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C0574431-818E-FFD3-517F-8DDEF3199CC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5802255" y="5807067"/>
              <a:ext cx="1186377" cy="359073"/>
            </a:xfrm>
            <a:prstGeom prst="roundRect">
              <a:avLst>
                <a:gd name="adj" fmla="val 32258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D7CDBCFE-A308-E8B1-B716-E2FC5EEA178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936723" y="5815168"/>
              <a:ext cx="92606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fr-FR" sz="2250" b="1" dirty="0">
                  <a:solidFill>
                    <a:srgbClr val="4BACC6">
                      <a:lumMod val="50000"/>
                    </a:srgb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Ardoi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439623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B5DAC7-6B56-70D9-DAA2-7ABC0B3729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>
            <a:extLst>
              <a:ext uri="{FF2B5EF4-FFF2-40B4-BE49-F238E27FC236}">
                <a16:creationId xmlns:a16="http://schemas.microsoft.com/office/drawing/2014/main" id="{A722A9F9-002C-3E66-9D79-0139EBEAB92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58662" y="590422"/>
            <a:ext cx="10115550" cy="83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C’est un tableau. </a:t>
            </a:r>
            <a:r>
              <a:rPr kumimoji="0" lang="fr-FR" sz="22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Ta-bleau</a:t>
            </a: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.  </a:t>
            </a:r>
          </a:p>
          <a:p>
            <a:pPr marL="0" marR="0" lvl="1" indent="0" algn="l" defTabSz="685834" rtl="0" eaLnBrk="1" fontAlgn="auto" latinLnBrk="0" hangingPunct="1">
              <a:lnSpc>
                <a:spcPts val="301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Est-ce que j’entends le son « l » dans tableau ?  </a:t>
            </a: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B98A6B8A-0EF6-562A-989D-3BAFEEFC6D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6799" y="685027"/>
            <a:ext cx="415519" cy="286411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5539AAF5-171C-F34A-C80E-899E0305B07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415" y="394853"/>
            <a:ext cx="1446339" cy="1442600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FAAEC66B-E521-7F5C-0DA6-446D9894EA9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6" name="Freeform 11">
            <a:extLst>
              <a:ext uri="{FF2B5EF4-FFF2-40B4-BE49-F238E27FC236}">
                <a16:creationId xmlns:a16="http://schemas.microsoft.com/office/drawing/2014/main" id="{41670AC7-7832-FEA9-FBB5-7EFC4F340F8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69238" y="2981905"/>
            <a:ext cx="6577523" cy="4323189"/>
          </a:xfrm>
          <a:custGeom>
            <a:avLst/>
            <a:gdLst/>
            <a:ahLst/>
            <a:cxnLst/>
            <a:rect l="l" t="t" r="r" b="b"/>
            <a:pathLst>
              <a:path w="9710880" h="6758465">
                <a:moveTo>
                  <a:pt x="0" y="0"/>
                </a:moveTo>
                <a:lnTo>
                  <a:pt x="9710880" y="0"/>
                </a:lnTo>
                <a:lnTo>
                  <a:pt x="9710880" y="6758465"/>
                </a:lnTo>
                <a:lnTo>
                  <a:pt x="0" y="6758465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581848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5EE3C-0552-3C9A-85D5-A5225BBA6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10287E18-69C6-3B4D-8BE6-A6CB0BC14EE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CA017BAA-6BDB-904D-1E89-7E185C81E8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46424" y="1092330"/>
            <a:ext cx="69276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 les élèves ne disposent pas de manuels, la leçon est terminée. 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FFFF8468-C116-9493-5F59-453A7E2197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05597" y="722301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6AC1C3B-B4BC-F4A8-4769-F9489EE47C5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46424" y="634508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Prenez vos livrets et un crayon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CEFC210-46FE-D869-3D1E-48869A0E7D3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2699334" y="2571317"/>
            <a:ext cx="3999271" cy="5710896"/>
          </a:xfrm>
          <a:prstGeom prst="rect">
            <a:avLst/>
          </a:prstGeom>
        </p:spPr>
      </p:pic>
      <p:pic>
        <p:nvPicPr>
          <p:cNvPr id="4" name="Image 3" descr="Une image contenant dessin, croquis, briquet, illustration&#10;&#10;Description générée automatiquement">
            <a:extLst>
              <a:ext uri="{FF2B5EF4-FFF2-40B4-BE49-F238E27FC236}">
                <a16:creationId xmlns:a16="http://schemas.microsoft.com/office/drawing/2014/main" id="{FBD81DAC-D87E-86B9-1E52-43A3D9317D6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992" y="4190466"/>
            <a:ext cx="2010942" cy="2472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16445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67058C-8E98-495E-88ED-9BBCBD96F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2FBEFB96-FB05-04C1-6C90-1C75C3BC636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5" name="Freeform 8">
            <a:extLst>
              <a:ext uri="{FF2B5EF4-FFF2-40B4-BE49-F238E27FC236}">
                <a16:creationId xmlns:a16="http://schemas.microsoft.com/office/drawing/2014/main" id="{2CDE8A98-23DB-5BB4-E159-A36095AA01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7368" y="765843"/>
            <a:ext cx="465218" cy="32729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EE6ABE2-07A0-C90F-A88D-835E1444A59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02882" y="699821"/>
            <a:ext cx="12557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Allez à la page 25. 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EE1761B-1D47-D58C-460A-98747BC0920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180032" y="1732831"/>
            <a:ext cx="5541618" cy="785434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E39246C-B3F7-0A93-D3A6-5226BEF019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100458" y="2900358"/>
            <a:ext cx="5700767" cy="327184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05662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B3F552-6007-9678-8D38-A4D43FD546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A833183A-43AA-8BA4-2B4B-28A61467370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3741" y="681459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067F983-10DE-2614-5071-A4917FD2BD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10159" y="584599"/>
            <a:ext cx="11529396" cy="88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1 : j’entoure l – L comme dans l’exemple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Je vais circuler entre les rangs pour vous aider.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3E8ED49-88C7-882E-71BA-D23D8AA761F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F4D9F98C-4190-8000-04B0-32649776C11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9E23647B-6FB7-AAFF-9995-96313D02324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678313" y="4124283"/>
            <a:ext cx="12348077" cy="215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98837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F3DD4-4470-4E67-5A82-B25C436E80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462A8E6E-A056-AA6A-BEE2-7771A83FD75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805384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B1A36DE-E18E-FED3-DE08-359889507A9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8" y="713911"/>
            <a:ext cx="11529396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1. Correction </a:t>
            </a: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E8128BC3-A4E2-2B5E-9DAF-189BB3EE0D19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2" name="Image 11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0253F318-BD53-0D24-BA45-80D96DFA0B8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99192" y="524034"/>
            <a:ext cx="1062221" cy="1512774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00985C55-6585-1CE0-3FAE-8BAF63BD555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301288" y="11258536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4478101-9626-24D2-B33C-40703C9A468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678313" y="4124283"/>
            <a:ext cx="12348077" cy="2152733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EE30A21D-D7C5-A825-2FD1-4A96A126B7A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466160" y="5414964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51186BD8-0B5D-69A2-009B-842FA6F2EA1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035203" y="5409175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9A68B35-C664-2EB2-4C66-A751426D04A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407467" y="5400676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85EB9A1E-AF05-3BFE-94F9-F1C16E6C330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878497" y="5409174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3C4A9A2C-6060-2F18-0D1C-CC61600F9D1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556971" y="5394884"/>
            <a:ext cx="652463" cy="740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31802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EBDC37-71E1-7F72-4D3C-3174FC5136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29EA3AEA-2ED7-A95E-5FE8-72E629332AC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sp>
        <p:nvSpPr>
          <p:cNvPr id="3" name="Freeform 8">
            <a:extLst>
              <a:ext uri="{FF2B5EF4-FFF2-40B4-BE49-F238E27FC236}">
                <a16:creationId xmlns:a16="http://schemas.microsoft.com/office/drawing/2014/main" id="{3BBCAEC4-BC6B-6723-1670-1ED90A1255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56657" y="681459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6079A69-FEB1-D996-29F1-1A22AE63C88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10159" y="584599"/>
            <a:ext cx="11529396" cy="88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2 : j’entoure l – L comme dans l’exemple.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 Je vais circuler entre les rangs pour vous aider. 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940FCCD-6650-521D-38AC-A9EF75670D8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07C01F6D-C8C6-BA0B-2DD6-52A161A774D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845941" y="3762747"/>
            <a:ext cx="12115472" cy="2068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3615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63FE4F-ABD9-C43F-7A89-4704AC056C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B7380F05-878C-92F3-8CB6-101BBDDE464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870697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7F9D21E-9DBF-019B-CDB6-305DDF979D0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8" y="757453"/>
            <a:ext cx="11529396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2. Correction 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67E10724-8BBE-AA6D-DC15-82BE8236B61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8313" y="-14288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11" name="Image 10" descr="Une image contenant dessin humoristique, dessin, illustration, croquis&#10;&#10;Description générée automatiquement">
            <a:extLst>
              <a:ext uri="{FF2B5EF4-FFF2-40B4-BE49-F238E27FC236}">
                <a16:creationId xmlns:a16="http://schemas.microsoft.com/office/drawing/2014/main" id="{5058332C-6339-8652-D127-269B5E28686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899192" y="524034"/>
            <a:ext cx="1062221" cy="151277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C09957B8-D47C-1C2B-036C-3ABE7A8C7D5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845941" y="3762747"/>
            <a:ext cx="12115472" cy="2068910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D25A38AB-B9C4-2727-0152-E1F6BC33AF2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598017" y="5054381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E9BD4574-684A-937D-F36B-92D7FC35B4C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533749" y="5057778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BEFF4B4-8F12-98D8-57DC-487DE012F97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097501" y="5058964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146682EC-B0E4-7FF0-99D0-C4B852ED29B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905121" y="5079164"/>
            <a:ext cx="330897" cy="6925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osi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09725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64D752-8453-C2CF-94EA-E47DCCB12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679BB8A7-A8F0-C72C-0F7A-76BC35C7697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662" y="759124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0648204-2E01-4610-46B1-73655CB31AC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1357" y="610499"/>
            <a:ext cx="1194745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3. Je nomme l’image et je l’entoure quand j’entends « l », </a:t>
            </a:r>
          </a:p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comme dans l’exemple.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BA41FD5-B504-0F14-25FC-9751F4F3F2E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924" y="824665"/>
            <a:ext cx="1733762" cy="1212640"/>
          </a:xfrm>
          <a:prstGeom prst="rect">
            <a:avLst/>
          </a:prstGeom>
        </p:spPr>
      </p:pic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06861EFA-527A-DB69-ECB9-1B11FCAA5F2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8B260143-75FF-1ECA-ABFC-32DEC1B7EC8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952284" y="3481321"/>
            <a:ext cx="11826401" cy="3324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61217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809C84-B759-C8ED-587C-932D3D7C4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C235415D-F79D-9D71-F6F5-72D851B8850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85824" y="856082"/>
            <a:ext cx="415520" cy="286412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43ABFD6-3F09-8E56-56D4-BB4D448E999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68519" y="764609"/>
            <a:ext cx="11947455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28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5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 "/>
                <a:ea typeface="+mn-ea"/>
                <a:cs typeface="+mn-cs"/>
              </a:rPr>
              <a:t>Exercice 3. Correction</a:t>
            </a:r>
          </a:p>
        </p:txBody>
      </p:sp>
      <p:pic>
        <p:nvPicPr>
          <p:cNvPr id="11" name="Image 10" descr="Une image contenant meubles, chaise, illustration, table&#10;&#10;Description générée automatiquement">
            <a:extLst>
              <a:ext uri="{FF2B5EF4-FFF2-40B4-BE49-F238E27FC236}">
                <a16:creationId xmlns:a16="http://schemas.microsoft.com/office/drawing/2014/main" id="{2D237194-5949-C0D6-C200-43C958112A9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0883" y="764609"/>
            <a:ext cx="1411357" cy="1008112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F00ACE65-0CBC-5286-0E96-A8A46BBA787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85799" y="-22122"/>
          <a:ext cx="12359373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9791">
                  <a:extLst>
                    <a:ext uri="{9D8B030D-6E8A-4147-A177-3AD203B41FA5}">
                      <a16:colId xmlns:a16="http://schemas.microsoft.com/office/drawing/2014/main" val="327897965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1026576551"/>
                    </a:ext>
                  </a:extLst>
                </a:gridCol>
                <a:gridCol w="4119791">
                  <a:extLst>
                    <a:ext uri="{9D8B030D-6E8A-4147-A177-3AD203B41FA5}">
                      <a16:colId xmlns:a16="http://schemas.microsoft.com/office/drawing/2014/main" val="4012923916"/>
                    </a:ext>
                  </a:extLst>
                </a:gridCol>
              </a:tblGrid>
              <a:tr h="389358">
                <a:tc>
                  <a:txBody>
                    <a:bodyPr/>
                    <a:lstStyle/>
                    <a:p>
                      <a:pPr marL="0" indent="0" algn="ctr" defTabSz="685783" rtl="0" eaLnBrk="1" latinLnBrk="0" hangingPunct="1">
                        <a:buFont typeface="+mj-lt"/>
                        <a:buNone/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1. Rituel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  <a:tabLst>
                          <a:tab pos="1695450" algn="l"/>
                        </a:tabLst>
                      </a:pPr>
                      <a:r>
                        <a:rPr lang="fr-FR" sz="1800" b="1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Dosis" pitchFamily="2" charset="0"/>
                          <a:ea typeface="+mn-ea"/>
                          <a:cs typeface="+mn-cs"/>
                        </a:rPr>
                        <a:t>2. Acte de parole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solidFill>
                            <a:schemeClr val="bg1"/>
                          </a:solidFill>
                          <a:latin typeface="Dosis" pitchFamily="2" charset="0"/>
                        </a:rPr>
                        <a:t>3. Lecture  </a:t>
                      </a:r>
                    </a:p>
                  </a:txBody>
                  <a:tcPr marL="137160" marR="137160" marT="68580" marB="685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57774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4E409AB6-EB70-9381-C96F-AE1B937ABA9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952284" y="3481321"/>
            <a:ext cx="11826401" cy="3324357"/>
          </a:xfrm>
          <a:prstGeom prst="rect">
            <a:avLst/>
          </a:prstGeom>
        </p:spPr>
      </p:pic>
      <p:sp>
        <p:nvSpPr>
          <p:cNvPr id="12" name="Ellipse 11">
            <a:extLst>
              <a:ext uri="{FF2B5EF4-FFF2-40B4-BE49-F238E27FC236}">
                <a16:creationId xmlns:a16="http://schemas.microsoft.com/office/drawing/2014/main" id="{2108576C-1857-7786-2D66-6F2AE4F3223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133064" y="4500562"/>
            <a:ext cx="2553486" cy="230511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31554AA2-77AF-A28B-3A04-5338FF687F6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029452" y="4294248"/>
            <a:ext cx="1285876" cy="271774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6865DF0A-72E5-CFBE-C33B-4613D2D363C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210230" y="4500563"/>
            <a:ext cx="2834942" cy="235909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7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005425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B2F8E-8E4B-B38D-6EC6-157DBEC6A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79DA564-4137-0B35-B63C-8F406A7ED7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949B5E2-9DAF-EBAC-1584-E8498FE571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D6A8CE-237D-E11D-FB38-6BE34B3E083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EE41AF00-29B6-0559-7392-CBB24DC9BCAE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7FD85179-174A-845C-7CFE-54051F108E84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12C9BBAC-CE86-4C53-77DA-E5814234D2AA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68EE3136-876C-FF1D-9374-917F6058570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E779AC7-DF84-D22B-4141-20259CB8CD57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867910BF-C541-2939-C8A2-4188E783F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63011" y="67243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A48166C-A99A-AD99-DFDD-88B1259120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24601" y="548413"/>
            <a:ext cx="1218167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’est le moment de l’étoile. </a:t>
            </a:r>
          </a:p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gagnant de l’étoile est : [nom de l’élève]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02DA9B2-0104-78F5-925E-F3EFC6122AD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646" y="3462101"/>
            <a:ext cx="8007737" cy="6005802"/>
          </a:xfrm>
          <a:prstGeom prst="rect">
            <a:avLst/>
          </a:prstGeom>
        </p:spPr>
      </p:pic>
      <p:pic>
        <p:nvPicPr>
          <p:cNvPr id="12" name="goodresult-82807">
            <a:hlinkClick r:id="" action="ppaction://media"/>
            <a:extLst>
              <a:ext uri="{FF2B5EF4-FFF2-40B4-BE49-F238E27FC236}">
                <a16:creationId xmlns:a16="http://schemas.microsoft.com/office/drawing/2014/main" id="{00BACA63-FA03-9C5C-8E5A-BE3B170E69F3}"/>
              </a:ext>
            </a:extLst>
          </p:cNvPr>
          <p:cNvPicPr>
            <a:picLocks noChangeAspect="1"/>
          </p:cNvPicPr>
          <p:nvPr>
            <a:audioFile r:link="rId7"/>
            <p:custDataLst>
              <p:tags r:id="rId8"/>
            </p:custDataLst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11627789" y="676802"/>
            <a:ext cx="731045" cy="73104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ACF6A0C-1D26-EB93-1786-0291DD2083D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401711" y="2584939"/>
            <a:ext cx="47820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1" i="0" u="none" strike="noStrike" kern="1200" cap="none" spc="0" normalizeH="0" baseline="0" noProof="0" dirty="0">
                <a:ln>
                  <a:noFill/>
                </a:ln>
                <a:solidFill>
                  <a:srgbClr val="215968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Moment de l’étoile</a:t>
            </a:r>
          </a:p>
        </p:txBody>
      </p:sp>
    </p:spTree>
    <p:extLst>
      <p:ext uri="{BB962C8B-B14F-4D97-AF65-F5344CB8AC3E}">
        <p14:creationId xmlns:p14="http://schemas.microsoft.com/office/powerpoint/2010/main" val="2698358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50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18098-65E3-31C9-CE7D-49857F747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41B91B76-2A60-DF51-1350-92E0875FBDC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13716000" cy="10287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C219C2DB-1D6E-A29D-F77C-09590E1A3393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 t="-5555" b="-5555"/>
              </a:stretch>
            </a:blipFill>
          </p:spPr>
          <p:txBody>
            <a:bodyPr/>
            <a:lstStyle/>
            <a:p>
              <a:pPr defTabSz="91444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D43D12F6-0094-868E-4887-AD45CB6FD089}"/>
                </a:ext>
              </a:extLst>
            </p:cNvPr>
            <p:cNvGrpSpPr/>
            <p:nvPr/>
          </p:nvGrpSpPr>
          <p:grpSpPr>
            <a:xfrm>
              <a:off x="800100" y="353997"/>
              <a:ext cx="12001500" cy="9132906"/>
              <a:chOff x="800100" y="353997"/>
              <a:chExt cx="12001500" cy="9132906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7AC9F87B-A6FC-0F3F-8438-E3DE63D8BB21}"/>
                  </a:ext>
                </a:extLst>
              </p:cNvPr>
              <p:cNvGrpSpPr/>
              <p:nvPr/>
            </p:nvGrpSpPr>
            <p:grpSpPr>
              <a:xfrm>
                <a:off x="800100" y="876302"/>
                <a:ext cx="12001500" cy="8610601"/>
                <a:chOff x="0" y="-485141"/>
                <a:chExt cx="3895412" cy="3519867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DC44881D-FFE1-709C-0B11-CCA9D335342A}"/>
                    </a:ext>
                  </a:extLst>
                </p:cNvPr>
                <p:cNvSpPr/>
                <p:nvPr/>
              </p:nvSpPr>
              <p:spPr>
                <a:xfrm>
                  <a:off x="0" y="-485141"/>
                  <a:ext cx="3895412" cy="3519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0000"/>
                  </a:solidFill>
                </a:ln>
              </p:spPr>
              <p:txBody>
                <a:bodyPr/>
                <a:lstStyle/>
                <a:p>
                  <a:pPr defTabSz="914445">
                    <a:defRPr/>
                  </a:pPr>
                  <a:endParaRPr lang="fr-MA"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6DEF2B2F-E576-DFFD-8399-E50C22FC7DF7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</p:spPr>
              <p:txBody>
                <a:bodyPr lIns="38100" tIns="38100" rIns="38100" bIns="38100" rtlCol="0" anchor="ctr"/>
                <a:lstStyle/>
                <a:p>
                  <a:pPr algn="ctr" defTabSz="914445">
                    <a:lnSpc>
                      <a:spcPts val="2408"/>
                    </a:lnSpc>
                    <a:defRPr/>
                  </a:pPr>
                  <a:endParaRPr sz="1350" dirty="0">
                    <a:solidFill>
                      <a:prstClr val="black"/>
                    </a:solidFill>
                    <a:latin typeface="Dosis" pitchFamily="2" charset="0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232A479E-7CF0-BB20-7403-63D5CD4EAC07}"/>
                  </a:ext>
                </a:extLst>
              </p:cNvPr>
              <p:cNvSpPr/>
              <p:nvPr/>
            </p:nvSpPr>
            <p:spPr>
              <a:xfrm>
                <a:off x="914402" y="353997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defTabSz="914445">
                  <a:defRPr/>
                </a:pPr>
                <a:endParaRPr lang="fr-MA" sz="1350" dirty="0">
                  <a:solidFill>
                    <a:prstClr val="black"/>
                  </a:solidFill>
                  <a:latin typeface="Dosis" pitchFamily="2" charset="0"/>
                </a:endParaRPr>
              </a:p>
            </p:txBody>
          </p:sp>
        </p:grpSp>
      </p:grpSp>
      <p:sp>
        <p:nvSpPr>
          <p:cNvPr id="2" name="TextBox 9">
            <a:extLst>
              <a:ext uri="{FF2B5EF4-FFF2-40B4-BE49-F238E27FC236}">
                <a16:creationId xmlns:a16="http://schemas.microsoft.com/office/drawing/2014/main" id="{1C340341-1BB1-F6E8-6167-449AF8F84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00100" y="1617969"/>
            <a:ext cx="12001500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69">
              <a:lnSpc>
                <a:spcPts val="4200"/>
              </a:lnSpc>
              <a:defRPr/>
            </a:pPr>
            <a:r>
              <a:rPr lang="en-US" sz="3600" b="1" dirty="0">
                <a:solidFill>
                  <a:srgbClr val="1F497D"/>
                </a:solidFill>
                <a:latin typeface="Dosis" pitchFamily="2" charset="0"/>
              </a:rPr>
              <a:t>Exemples de projections bien ajustées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0E6E7F1-8C5D-A744-2451-2C3AAAA8DF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83F1D80-5E5D-94B9-BC94-826AC18B6C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rcRect t="8226" b="4216"/>
          <a:stretch/>
        </p:blipFill>
        <p:spPr>
          <a:xfrm>
            <a:off x="3404621" y="3061171"/>
            <a:ext cx="6601130" cy="2723317"/>
          </a:xfrm>
          <a:prstGeom prst="roundRect">
            <a:avLst>
              <a:gd name="adj" fmla="val 12597"/>
            </a:avLst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7D9E8320-52FD-BC9F-E33E-E6E63E53978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rcRect t="3047"/>
          <a:stretch/>
        </p:blipFill>
        <p:spPr>
          <a:xfrm>
            <a:off x="3159371" y="6660789"/>
            <a:ext cx="7142603" cy="1917889"/>
          </a:xfrm>
          <a:prstGeom prst="roundRect">
            <a:avLst>
              <a:gd name="adj" fmla="val 13055"/>
            </a:avLst>
          </a:prstGeom>
        </p:spPr>
      </p:pic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A0A45337-F82C-CDA1-7832-70798E696A5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530436" y="6306793"/>
            <a:ext cx="831273" cy="872837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533E49BF-E1DF-DE67-87C6-6B4EA6B194B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530436" y="2883526"/>
            <a:ext cx="1039091" cy="105048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7405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9B8FA-863E-0A82-E69A-F5094FF52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55B0195-4F66-E8A5-F293-11C0A390DC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E2A5C97-6BB8-D6D8-C67A-601C6631652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D6024E-998E-FB4A-9827-13921424A66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B5626B3-8F11-1A4C-1C5A-C28AD40230C8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63E1DD92-4DB6-E0AA-412D-880EF865E549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3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524834BD-DE93-3723-5883-A79737C09FD1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128C95BA-718C-F15D-88E2-7F89511330A9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9AAEA53E-4E9D-CE10-2E0C-E3F71C468384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3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4DB08214-4D5B-0B77-354D-1EB3C43212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679034" y="854380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3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0C40AA9-C224-10BA-2578-435199DE8B5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91428" y="755605"/>
            <a:ext cx="12181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 peut me dire pourquoi [prénom] a obtenu l’étoile ? </a:t>
            </a:r>
          </a:p>
        </p:txBody>
      </p:sp>
      <p:pic>
        <p:nvPicPr>
          <p:cNvPr id="5" name="Image 4" descr="Une image contenant dessin humoristique, dessin, illustration, Dessin animé&#10;&#10;Description générée automatiquement">
            <a:extLst>
              <a:ext uri="{FF2B5EF4-FFF2-40B4-BE49-F238E27FC236}">
                <a16:creationId xmlns:a16="http://schemas.microsoft.com/office/drawing/2014/main" id="{2965A4B0-67DD-88DB-9DE5-8E7CA5AD689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26" r="50000" b="19885"/>
          <a:stretch/>
        </p:blipFill>
        <p:spPr>
          <a:xfrm>
            <a:off x="4954556" y="2048287"/>
            <a:ext cx="4387476" cy="3824222"/>
          </a:xfrm>
          <a:prstGeom prst="rect">
            <a:avLst/>
          </a:prstGeom>
        </p:spPr>
      </p:pic>
      <p:pic>
        <p:nvPicPr>
          <p:cNvPr id="6" name="Picture 2" descr="12,300+ Right Wrong Stock Illustrations, Royalty-Free Vector ...">
            <a:extLst>
              <a:ext uri="{FF2B5EF4-FFF2-40B4-BE49-F238E27FC236}">
                <a16:creationId xmlns:a16="http://schemas.microsoft.com/office/drawing/2014/main" id="{167A14FC-01BC-6364-3F1D-81A4B18CB16A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0164560" y="3186112"/>
            <a:ext cx="1666068" cy="206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56EF663-2508-E0E8-4B29-3BDE8F510E5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634" y="2674828"/>
            <a:ext cx="2390028" cy="271473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5D338E8-2E62-4CCD-ADCB-16E5C4451C5B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3040"/>
          <a:stretch/>
        </p:blipFill>
        <p:spPr>
          <a:xfrm>
            <a:off x="907633" y="5208703"/>
            <a:ext cx="11641322" cy="85304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7556267-D5D0-9C5E-BFC6-0B9E11A120E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5151195" y="6349561"/>
            <a:ext cx="3042222" cy="293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32731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5A159-DB48-9BA9-C5B0-5E337AAB4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242C1FBB-1CD9-2106-0A0B-D4CE048292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1" y="1485902"/>
            <a:ext cx="13030202" cy="7179962"/>
          </a:xfrm>
          <a:prstGeom prst="roundRect">
            <a:avLst>
              <a:gd name="adj" fmla="val 9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5">
              <a:defRPr/>
            </a:pPr>
            <a:endParaRPr lang="fr-MA" sz="1350" dirty="0">
              <a:solidFill>
                <a:prstClr val="white"/>
              </a:solidFill>
              <a:latin typeface="Dosis" pitchFamily="2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6428922-DA23-7D63-9667-947520F87F7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2"/>
            <a:ext cx="13716000" cy="10286999"/>
            <a:chOff x="0" y="1"/>
            <a:chExt cx="9144000" cy="685799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75BF59-3F8D-9B5C-D1ED-F735B20CA70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0" y="1"/>
              <a:ext cx="9144000" cy="6857999"/>
            </a:xfrm>
            <a:prstGeom prst="rect">
              <a:avLst/>
            </a:prstGeom>
            <a:solidFill>
              <a:srgbClr val="1065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35">
                <a:defRPr/>
              </a:pPr>
              <a:endParaRPr lang="fr-MA" sz="1350" dirty="0">
                <a:solidFill>
                  <a:prstClr val="white"/>
                </a:solidFill>
                <a:latin typeface="Dosis" pitchFamily="2" charset="0"/>
              </a:endParaRP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F508E3EA-9EE0-5287-329A-9D0072439D0C}"/>
                </a:ext>
              </a:extLst>
            </p:cNvPr>
            <p:cNvGrpSpPr/>
            <p:nvPr/>
          </p:nvGrpSpPr>
          <p:grpSpPr>
            <a:xfrm>
              <a:off x="228600" y="259752"/>
              <a:ext cx="8692119" cy="6338496"/>
              <a:chOff x="183903" y="177800"/>
              <a:chExt cx="8781569" cy="6499909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F5E4F832-9B09-AF3F-2863-C16F1D53307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83903" y="177800"/>
                <a:ext cx="8776195" cy="6499909"/>
              </a:xfrm>
              <a:prstGeom prst="roundRect">
                <a:avLst>
                  <a:gd name="adj" fmla="val 2225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35">
                  <a:defRPr/>
                </a:pPr>
                <a:endParaRPr lang="fr-MA" sz="1350" dirty="0">
                  <a:solidFill>
                    <a:prstClr val="white"/>
                  </a:solidFill>
                  <a:latin typeface="Dosis" pitchFamily="2" charset="0"/>
                </a:endParaRPr>
              </a:p>
            </p:txBody>
          </p:sp>
          <p:grpSp>
            <p:nvGrpSpPr>
              <p:cNvPr id="2" name="Groupe 1">
                <a:extLst>
                  <a:ext uri="{FF2B5EF4-FFF2-40B4-BE49-F238E27FC236}">
                    <a16:creationId xmlns:a16="http://schemas.microsoft.com/office/drawing/2014/main" id="{E515C95D-8C64-C416-29AB-6970CCFB983E}"/>
                  </a:ext>
                </a:extLst>
              </p:cNvPr>
              <p:cNvGrpSpPr/>
              <p:nvPr/>
            </p:nvGrpSpPr>
            <p:grpSpPr>
              <a:xfrm>
                <a:off x="198802" y="180292"/>
                <a:ext cx="8766670" cy="810309"/>
                <a:chOff x="195880" y="180292"/>
                <a:chExt cx="8769597" cy="810309"/>
              </a:xfrm>
            </p:grpSpPr>
            <p:sp>
              <p:nvSpPr>
                <p:cNvPr id="23" name="Rectangle : coins arrondis 22">
                  <a:extLst>
                    <a:ext uri="{FF2B5EF4-FFF2-40B4-BE49-F238E27FC236}">
                      <a16:creationId xmlns:a16="http://schemas.microsoft.com/office/drawing/2014/main" id="{56F2E216-AD23-A509-095D-B8ACC75615E5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195880" y="180292"/>
                  <a:ext cx="8769597" cy="597245"/>
                </a:xfrm>
                <a:prstGeom prst="roundRect">
                  <a:avLst>
                    <a:gd name="adj" fmla="val 14434"/>
                  </a:avLst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FR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D427134C-F818-8C64-86C7-D9873BFEFDF9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96725" y="737687"/>
                  <a:ext cx="8718675" cy="252914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35">
                    <a:defRPr/>
                  </a:pPr>
                  <a:endParaRPr lang="fr-MA" sz="1350" dirty="0">
                    <a:solidFill>
                      <a:prstClr val="white"/>
                    </a:solidFill>
                    <a:latin typeface="Dosis" pitchFamily="2" charset="0"/>
                  </a:endParaRPr>
                </a:p>
              </p:txBody>
            </p:sp>
          </p:grpSp>
        </p:grpSp>
      </p:grpSp>
      <p:sp>
        <p:nvSpPr>
          <p:cNvPr id="19" name="Freeform 8">
            <a:extLst>
              <a:ext uri="{FF2B5EF4-FFF2-40B4-BE49-F238E27FC236}">
                <a16:creationId xmlns:a16="http://schemas.microsoft.com/office/drawing/2014/main" id="{6DC4A37A-0359-4A44-D3EE-8AF3AFFA9F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 flipH="1">
            <a:off x="712880" y="797224"/>
            <a:ext cx="457200" cy="318929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b="1" dirty="0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62D5AFA-9333-F74B-ECE0-BCDA41DD36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28573" y="736196"/>
            <a:ext cx="92678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5">
              <a:spcAft>
                <a:spcPts val="600"/>
              </a:spcAft>
              <a:defRPr/>
            </a:pP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Calibri"/>
              </a:rPr>
              <a:t>La séance d’aujourd’hui est terminée. À demain !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6F8A514-48C9-75D9-E3BC-64145D5D657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3059771" y="2695098"/>
            <a:ext cx="7596461" cy="62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2600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>
          <a:extLst>
            <a:ext uri="{FF2B5EF4-FFF2-40B4-BE49-F238E27FC236}">
              <a16:creationId xmlns:a16="http://schemas.microsoft.com/office/drawing/2014/main" id="{4434A310-1ACB-7B37-A2E4-A787BD127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F884051-55D2-3C83-2FA7-6431BA98E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6" y="1287661"/>
          <a:ext cx="1787" cy="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884051-55D2-3C83-2FA7-6431BA98E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86" y="1287661"/>
                        <a:ext cx="1787" cy="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6">
            <a:extLst>
              <a:ext uri="{FF2B5EF4-FFF2-40B4-BE49-F238E27FC236}">
                <a16:creationId xmlns:a16="http://schemas.microsoft.com/office/drawing/2014/main" id="{A378AFD9-7C33-AC53-B240-DF15D58DA6DE}"/>
              </a:ext>
            </a:extLst>
          </p:cNvPr>
          <p:cNvSpPr/>
          <p:nvPr/>
        </p:nvSpPr>
        <p:spPr>
          <a:xfrm>
            <a:off x="6813727" y="8681309"/>
            <a:ext cx="96490" cy="1110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02862" tIns="51413" rIns="102862" bIns="51413" anchor="ctr" anchorCtr="0">
            <a:noAutofit/>
          </a:bodyPr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315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Arial"/>
              <a:cs typeface="Traditional Arabic" panose="02020603050405020304" pitchFamily="18" charset="-78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B0B7A3-933D-E89F-0AFB-610F9586A0A5}"/>
              </a:ext>
            </a:extLst>
          </p:cNvPr>
          <p:cNvSpPr/>
          <p:nvPr/>
        </p:nvSpPr>
        <p:spPr>
          <a:xfrm>
            <a:off x="136334" y="8529247"/>
            <a:ext cx="3148070" cy="415198"/>
          </a:xfrm>
          <a:prstGeom prst="rect">
            <a:avLst/>
          </a:prstGeom>
          <a:solidFill>
            <a:srgbClr val="FCFDF2"/>
          </a:solidFill>
          <a:ln>
            <a:solidFill>
              <a:srgbClr val="FCF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174FDD-9916-4F25-C9A7-7C414CF7576F}"/>
              </a:ext>
            </a:extLst>
          </p:cNvPr>
          <p:cNvSpPr txBox="1"/>
          <p:nvPr/>
        </p:nvSpPr>
        <p:spPr>
          <a:xfrm>
            <a:off x="136334" y="1342556"/>
            <a:ext cx="1262510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</a:t>
            </a:r>
            <a:r>
              <a:rPr kumimoji="0" lang="ar-MA" sz="4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المرجو ملء الاستبيان حول الحصص الدراسية المقدمة في إطار التدريس الصريح</a:t>
            </a:r>
            <a:endParaRPr kumimoji="0" lang="en-GB" sz="4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  <a:p>
            <a:pPr marL="0" marR="0" lvl="0" indent="0" algn="ct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(استمارة موجهة للأساتذة)</a:t>
            </a:r>
            <a:endParaRPr kumimoji="0" lang="fr-FR" sz="4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AACC59-15BA-D1C2-C94B-7EE31EA88D6F}"/>
              </a:ext>
            </a:extLst>
          </p:cNvPr>
          <p:cNvSpPr txBox="1"/>
          <p:nvPr/>
        </p:nvSpPr>
        <p:spPr>
          <a:xfrm>
            <a:off x="5409085" y="4814564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الولوج عبر 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  <a:hlinkClick r:id="rId6"/>
              </a:rPr>
              <a:t>الرابط أسفله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: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019654-2264-8A09-83FF-AEC6AFD5A871}"/>
              </a:ext>
            </a:extLst>
          </p:cNvPr>
          <p:cNvSpPr txBox="1"/>
          <p:nvPr/>
        </p:nvSpPr>
        <p:spPr>
          <a:xfrm>
            <a:off x="-912437" y="3179076"/>
            <a:ext cx="69057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مسح رمز الاستجابة السريعة 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(</a:t>
            </a:r>
            <a:r>
              <a:rPr kumimoji="0" lang="en-GB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Qr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 code)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84840F-AB6A-304A-DD8A-58BCB8681D23}"/>
              </a:ext>
            </a:extLst>
          </p:cNvPr>
          <p:cNvSpPr txBox="1"/>
          <p:nvPr/>
        </p:nvSpPr>
        <p:spPr>
          <a:xfrm>
            <a:off x="5808658" y="3248600"/>
            <a:ext cx="15145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0287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أو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itional Arabic" panose="02020603050405020304" pitchFamily="18" charset="-78"/>
              <a:ea typeface="+mn-ea"/>
              <a:cs typeface="Traditional Arabic" panose="02020603050405020304" pitchFamily="18" charset="-7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DC63DB-90E7-27C4-6516-CED8FFAC0E2C}"/>
              </a:ext>
            </a:extLst>
          </p:cNvPr>
          <p:cNvSpPr txBox="1"/>
          <p:nvPr/>
        </p:nvSpPr>
        <p:spPr>
          <a:xfrm>
            <a:off x="6672280" y="5930679"/>
            <a:ext cx="733991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itional Arabic" panose="02020603050405020304" pitchFamily="18" charset="-78"/>
                <a:ea typeface="+mn-ea"/>
                <a:cs typeface="Traditional Arabic" panose="02020603050405020304" pitchFamily="18" charset="-78"/>
              </a:rPr>
              <a:t>https://forms.gle/MPZzCzLAsK9AdG8x7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419A47C-151D-1A28-EA5F-3EECEDF796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0540" y="4244656"/>
            <a:ext cx="4547728" cy="454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280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4D853-9A8B-A09C-2310-C37E1BAF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DE7BB3E-6390-1C50-18A4-BCDFD52D118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5555" b="-5555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71520CC2-BAA8-D301-162C-A465799DA8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-1" y="4165441"/>
            <a:ext cx="13716001" cy="9853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5">
              <a:lnSpc>
                <a:spcPts val="8229"/>
              </a:lnSpc>
              <a:spcAft>
                <a:spcPts val="3000"/>
              </a:spcAft>
              <a:defRPr/>
            </a:pPr>
            <a:r>
              <a:rPr lang="fr-FR" sz="6000" b="1" dirty="0">
                <a:solidFill>
                  <a:srgbClr val="106585"/>
                </a:solidFill>
                <a:latin typeface="Dosis" pitchFamily="2" charset="0"/>
                <a:ea typeface="Calibri" panose="020F0502020204030204" pitchFamily="34" charset="0"/>
                <a:cs typeface="Calibri" panose="020F0502020204030204" pitchFamily="34" charset="0"/>
              </a:rPr>
              <a:t>Organisation pédagogique</a:t>
            </a:r>
            <a:endParaRPr lang="ar-MA" sz="6000" b="1" dirty="0">
              <a:solidFill>
                <a:srgbClr val="106585"/>
              </a:solidFill>
              <a:latin typeface="Dosis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B6A7112-7B25-F615-C8CD-747F1AABA0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7658100"/>
            <a:ext cx="1977638" cy="2625450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33373C81-CB0E-8516-83E4-138442C67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25200" y="7429500"/>
            <a:ext cx="2558670" cy="2854050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914445">
              <a:defRPr/>
            </a:pPr>
            <a:endParaRPr lang="fr-MA" sz="642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78C0463-A237-1630-B010-0DB99E1AEC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58395" y="357557"/>
            <a:ext cx="4648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Pour l’enseignant</a:t>
            </a:r>
          </a:p>
        </p:txBody>
      </p:sp>
    </p:spTree>
    <p:extLst>
      <p:ext uri="{BB962C8B-B14F-4D97-AF65-F5344CB8AC3E}">
        <p14:creationId xmlns:p14="http://schemas.microsoft.com/office/powerpoint/2010/main" val="1205267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4F410-4BCC-4A6A-8C64-D566F2430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DAD7AECF-C1BF-8311-9244-8E3BB4CA504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3716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5555" b="-5555"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id="{BEFCFD14-1E82-0356-EC79-E7FFE0D2C1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81000" y="441300"/>
            <a:ext cx="12954000" cy="9057966"/>
            <a:chOff x="0" y="0"/>
            <a:chExt cx="3895412" cy="2555175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A8565BE-8587-EE12-0FDD-11E6991B9488}"/>
                </a:ext>
              </a:extLst>
            </p:cNvPr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685835">
                <a:defRPr/>
              </a:pPr>
              <a:endParaRPr lang="fr-MA"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AA32D00-B2D8-2293-F056-5AE587E26A74}"/>
                </a:ext>
              </a:extLst>
            </p:cNvPr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just" defTabSz="685835">
                <a:lnSpc>
                  <a:spcPts val="2408"/>
                </a:lnSpc>
                <a:defRPr/>
              </a:pPr>
              <a:endParaRPr sz="1350" dirty="0">
                <a:solidFill>
                  <a:prstClr val="black"/>
                </a:solidFill>
                <a:latin typeface="Dosis" pitchFamily="2" charset="0"/>
              </a:endParaRPr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B34FD747-C30E-E0AB-6CD3-9EEE522E0C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6384" y="31341"/>
            <a:ext cx="929375" cy="8922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685835">
              <a:defRPr/>
            </a:pPr>
            <a:endParaRPr lang="fr-MA" sz="1350" dirty="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1B319638-CFCF-BEE0-C1A3-DB5071C1CB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211267" y="831689"/>
            <a:ext cx="7238546" cy="49629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85835">
              <a:lnSpc>
                <a:spcPts val="4199"/>
              </a:lnSpc>
              <a:defRPr/>
            </a:pPr>
            <a:r>
              <a:rPr lang="fr-FR" sz="3200" b="1" dirty="0">
                <a:solidFill>
                  <a:srgbClr val="106585"/>
                </a:solidFill>
                <a:latin typeface="Dosis" pitchFamily="2" charset="0"/>
              </a:rPr>
              <a:t>Organisation pédagogiqu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4B8504D-C843-3262-D2C0-142A1F25F35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5183" y="1586276"/>
            <a:ext cx="12192000" cy="4747350"/>
          </a:xfrm>
          <a:prstGeom prst="roundRect">
            <a:avLst>
              <a:gd name="adj" fmla="val 83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5">
              <a:defRPr/>
            </a:pPr>
            <a:endParaRPr lang="fr-FR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1DD44DDA-8376-1144-5CA4-E9AC843407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1414" y="1809095"/>
            <a:ext cx="11963400" cy="4311819"/>
          </a:xfrm>
          <a:prstGeom prst="round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objectif de l’enseignement du français en 1</a:t>
            </a:r>
            <a:r>
              <a:rPr lang="fr-FR" sz="2400" baseline="30000" noProof="1">
                <a:solidFill>
                  <a:srgbClr val="106585"/>
                </a:solidFill>
                <a:latin typeface="Dosis" pitchFamily="2" charset="0"/>
              </a:rPr>
              <a:t>è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année est d’atteindr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alier 2 en lecture</a:t>
            </a:r>
            <a:r>
              <a:rPr lang="fr-FR" sz="2400" b="1" noProof="1">
                <a:solidFill>
                  <a:srgbClr val="106585"/>
                </a:solidFill>
                <a:latin typeface="Dosis" pitchFamily="2" charset="0"/>
              </a:rPr>
              <a:t>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lire des mots avec des syllabes simples) ainsi que l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niveau A1.1  à l’oral et à l’écrit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capacités élémentaires en compréhension et en production)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L’année est organisée e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5 périodes </a:t>
            </a:r>
            <a:r>
              <a:rPr lang="fr-FR" sz="2400" noProof="1">
                <a:solidFill>
                  <a:srgbClr val="215968"/>
                </a:solidFill>
                <a:latin typeface="Dosis" pitchFamily="2" charset="0"/>
              </a:rPr>
              <a:t>de 6 semain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cune. Les 5 premières semaines de la période sont consacrées à l’étude d’un thème, tandis que la sixième semaine est réservée au rebrassage et à l’évaluation des apprentissages de la période. 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emaine comprend une liste de mots de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vocabulair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dialogu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, la découverte d’un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graphème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 et des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points de langue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(structures syntaxiques, conjugaison etc.).</a:t>
            </a:r>
          </a:p>
          <a:p>
            <a:pPr marL="342917" indent="-342917" algn="just" defTabSz="685835">
              <a:lnSpc>
                <a:spcPts val="3026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Chaque séance comprend </a:t>
            </a:r>
            <a:r>
              <a:rPr lang="fr-FR" sz="2400" b="1" noProof="1">
                <a:solidFill>
                  <a:srgbClr val="F79646">
                    <a:lumMod val="75000"/>
                  </a:srgbClr>
                </a:solidFill>
                <a:latin typeface="Dosis" pitchFamily="2" charset="0"/>
              </a:rPr>
              <a:t>2 activités principales </a:t>
            </a:r>
            <a:r>
              <a:rPr lang="fr-FR" sz="2400" noProof="1">
                <a:solidFill>
                  <a:srgbClr val="106585"/>
                </a:solidFill>
                <a:latin typeface="Dosis" pitchFamily="2" charset="0"/>
              </a:rPr>
              <a:t>et s’ouvre par des rituels. </a:t>
            </a:r>
            <a:endParaRPr lang="fr-FR" sz="2100" noProof="1">
              <a:solidFill>
                <a:prstClr val="black">
                  <a:lumMod val="85000"/>
                  <a:lumOff val="15000"/>
                </a:prstClr>
              </a:solidFill>
              <a:latin typeface="Dosis" pitchFamily="2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8437462-F7F5-AE53-D834-01EDCFD32D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831317" y="4821"/>
            <a:ext cx="6643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5">
              <a:defRPr/>
            </a:pPr>
            <a:r>
              <a:rPr lang="fr-MA" sz="2000" i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Pour l’enseigna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5FB32DC9-3DD7-DDE8-5057-C00C962270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86382" y="6703496"/>
            <a:ext cx="12256725" cy="2071133"/>
            <a:chOff x="457588" y="4537445"/>
            <a:chExt cx="8171150" cy="1380755"/>
          </a:xfrm>
        </p:grpSpPr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6449314D-753C-6389-7F12-91793FC4DFA6}"/>
                </a:ext>
              </a:extLst>
            </p:cNvPr>
            <p:cNvSpPr/>
            <p:nvPr/>
          </p:nvSpPr>
          <p:spPr>
            <a:xfrm>
              <a:off x="457588" y="4537445"/>
              <a:ext cx="8160533" cy="1380755"/>
            </a:xfrm>
            <a:prstGeom prst="roundRect">
              <a:avLst/>
            </a:prstGeom>
            <a:solidFill>
              <a:srgbClr val="FFFFCC"/>
            </a:solidFill>
            <a:ln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5">
                <a:defRPr/>
              </a:pPr>
              <a:endParaRPr lang="fr-FR" sz="18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TextBox 10">
              <a:extLst>
                <a:ext uri="{FF2B5EF4-FFF2-40B4-BE49-F238E27FC236}">
                  <a16:creationId xmlns:a16="http://schemas.microsoft.com/office/drawing/2014/main" id="{B20CFC84-9C14-5078-FD01-23AF13E02E32}"/>
                </a:ext>
              </a:extLst>
            </p:cNvPr>
            <p:cNvSpPr txBox="1"/>
            <p:nvPr/>
          </p:nvSpPr>
          <p:spPr>
            <a:xfrm>
              <a:off x="537925" y="4699000"/>
              <a:ext cx="4034075" cy="1058446"/>
            </a:xfrm>
            <a:prstGeom prst="round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1 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Je me présent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2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classe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3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famille et ma maison</a:t>
              </a:r>
              <a:endParaRPr lang="fr-FR" sz="2100" b="1" dirty="0">
                <a:solidFill>
                  <a:srgbClr val="106585"/>
                </a:solidFill>
                <a:latin typeface="Dosis" pitchFamily="2" charset="0"/>
              </a:endParaRP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47CEF19C-EABA-3900-4506-32DB619CEF11}"/>
                </a:ext>
              </a:extLst>
            </p:cNvPr>
            <p:cNvSpPr txBox="1"/>
            <p:nvPr/>
          </p:nvSpPr>
          <p:spPr>
            <a:xfrm>
              <a:off x="4340662" y="4710249"/>
              <a:ext cx="4288076" cy="6591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4 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on corps et mon alimentation</a:t>
              </a:r>
            </a:p>
            <a:p>
              <a:pPr marL="531840" indent="-342917" algn="just" defTabSz="685835">
                <a:lnSpc>
                  <a:spcPts val="3026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  <a:defRPr/>
              </a:pPr>
              <a:r>
                <a:rPr lang="fr-FR" sz="2400" b="1" dirty="0">
                  <a:solidFill>
                    <a:srgbClr val="F79646">
                      <a:lumMod val="75000"/>
                    </a:srgbClr>
                  </a:solidFill>
                  <a:latin typeface="Dosis" pitchFamily="2" charset="0"/>
                </a:rPr>
                <a:t>Période  5 :  </a:t>
              </a:r>
              <a:r>
                <a:rPr lang="fr-FR" sz="2400" b="1" dirty="0">
                  <a:solidFill>
                    <a:srgbClr val="106585"/>
                  </a:solidFill>
                  <a:latin typeface="Dosis" pitchFamily="2" charset="0"/>
                </a:rPr>
                <a:t>Ma journé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1496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13</TotalTime>
  <Words>1876</Words>
  <PresentationFormat>Personnalisé</PresentationFormat>
  <Paragraphs>381</Paragraphs>
  <Slides>72</Slides>
  <Notes>1</Notes>
  <HiddenSlides>0</HiddenSlides>
  <MMClips>3</MMClips>
  <ScaleCrop>false</ScaleCrop>
  <HeadingPairs>
    <vt:vector size="8" baseType="variant">
      <vt:variant>
        <vt:lpstr>Polices utilisées</vt:lpstr>
      </vt:variant>
      <vt:variant>
        <vt:i4>14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2</vt:i4>
      </vt:variant>
    </vt:vector>
  </HeadingPairs>
  <TitlesOfParts>
    <vt:vector size="91" baseType="lpstr">
      <vt:lpstr>Carelia</vt:lpstr>
      <vt:lpstr>Dosis Medium</vt:lpstr>
      <vt:lpstr>Dosis</vt:lpstr>
      <vt:lpstr>Montserrat</vt:lpstr>
      <vt:lpstr>Calibri</vt:lpstr>
      <vt:lpstr>Arial</vt:lpstr>
      <vt:lpstr>Traditional Arabic</vt:lpstr>
      <vt:lpstr>KG Primary Penmanship 2</vt:lpstr>
      <vt:lpstr>Calibri </vt:lpstr>
      <vt:lpstr>Helvetica Neue Light</vt:lpstr>
      <vt:lpstr>Dosis Bold</vt:lpstr>
      <vt:lpstr>Candara</vt:lpstr>
      <vt:lpstr>Cambria</vt:lpstr>
      <vt:lpstr>KG Primary Penmanship Alt</vt:lpstr>
      <vt:lpstr>1_Office Theme</vt:lpstr>
      <vt:lpstr>Office Theme</vt:lpstr>
      <vt:lpstr>2_Office Theme</vt:lpstr>
      <vt:lpstr>2_Simple Ligh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9-22T04:26:48Z</dcterms:created>
  <dcterms:modified xsi:type="dcterms:W3CDTF">2025-07-12T08:07:49Z</dcterms:modified>
</cp:coreProperties>
</file>